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8.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1.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2.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4"/>
    <p:sldMasterId id="2147484033" r:id="rId5"/>
    <p:sldMasterId id="2147483766" r:id="rId6"/>
    <p:sldMasterId id="2147483772" r:id="rId7"/>
    <p:sldMasterId id="2147483775" r:id="rId8"/>
    <p:sldMasterId id="2147483782" r:id="rId9"/>
    <p:sldMasterId id="2147483790" r:id="rId10"/>
    <p:sldMasterId id="2147483789" r:id="rId11"/>
    <p:sldMasterId id="2147483798" r:id="rId12"/>
    <p:sldMasterId id="2147483797" r:id="rId13"/>
    <p:sldMasterId id="2147484031" r:id="rId14"/>
    <p:sldMasterId id="2147484036" r:id="rId15"/>
    <p:sldMasterId id="2147483777" r:id="rId16"/>
  </p:sldMasterIdLst>
  <p:notesMasterIdLst>
    <p:notesMasterId r:id="rId26"/>
  </p:notesMasterIdLst>
  <p:sldIdLst>
    <p:sldId id="258" r:id="rId17"/>
    <p:sldId id="446" r:id="rId18"/>
    <p:sldId id="421" r:id="rId19"/>
    <p:sldId id="443" r:id="rId20"/>
    <p:sldId id="424" r:id="rId21"/>
    <p:sldId id="444" r:id="rId22"/>
    <p:sldId id="416" r:id="rId23"/>
    <p:sldId id="445" r:id="rId24"/>
    <p:sldId id="442" r:id="rId25"/>
  </p:sldIdLst>
  <p:sldSz cx="12192000" cy="6858000"/>
  <p:notesSz cx="6858000" cy="9144000"/>
  <p:custDataLst>
    <p:tags r:id="rId2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FF744-F591-FD0D-7854-3F4FDB8467AF}" name="Hans Gelissen (DHL SSC Maastricht)" initials="HG(SM" userId="S::hans.gelissen@dhl.com::1afa8510-4eed-4b73-a29e-678838cd8acd" providerId="AD"/>
  <p188:author id="{3DD3669C-276A-9A36-BA63-9779AC117A24}" name="Bente De Rijke (DHL SSC Maastricht)" initials="BDR(SM" userId="S::bente.derijke@dhl.com::475646eb-b23c-43c0-b2ae-71e1fde9b74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EEF"/>
    <a:srgbClr val="FFC000"/>
    <a:srgbClr val="BF3B4B"/>
    <a:srgbClr val="DB8993"/>
    <a:srgbClr val="D2EEFC"/>
    <a:srgbClr val="7395D3"/>
    <a:srgbClr val="0033CC"/>
    <a:srgbClr val="5982CB"/>
    <a:srgbClr val="8A0000"/>
    <a:srgbClr val="95C6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70C3BC1-5514-4883-86A5-223718E310E1}" v="1" dt="2023-07-14T16:49:11.8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4641" autoAdjust="0"/>
  </p:normalViewPr>
  <p:slideViewPr>
    <p:cSldViewPr snapToGrid="0">
      <p:cViewPr varScale="1">
        <p:scale>
          <a:sx n="46" d="100"/>
          <a:sy n="46" d="100"/>
        </p:scale>
        <p:origin x="984" y="30"/>
      </p:cViewPr>
      <p:guideLst/>
    </p:cSldViewPr>
  </p:slideViewPr>
  <p:outlineViewPr>
    <p:cViewPr>
      <p:scale>
        <a:sx n="33" d="100"/>
        <a:sy n="33" d="100"/>
      </p:scale>
      <p:origin x="0" y="0"/>
    </p:cViewPr>
    <p:sldLst>
      <p:sld r:id="rId1" collapse="1"/>
    </p:sldLst>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5.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Master" Target="slideMasters/slideMaster5.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s Gelissen (DHL SSC Maastricht)" userId="1afa8510-4eed-4b73-a29e-678838cd8acd" providerId="ADAL" clId="{E6EBF5A5-CEC0-41D9-A58F-673413104E9E}"/>
    <pc:docChg chg="custSel modMainMaster">
      <pc:chgData name="Hans Gelissen (DHL SSC Maastricht)" userId="1afa8510-4eed-4b73-a29e-678838cd8acd" providerId="ADAL" clId="{E6EBF5A5-CEC0-41D9-A58F-673413104E9E}" dt="2023-07-06T12:51:06.153" v="168"/>
      <pc:docMkLst>
        <pc:docMk/>
      </pc:docMkLst>
      <pc:sldMasterChg chg="addSp modSp mod modSldLayout">
        <pc:chgData name="Hans Gelissen (DHL SSC Maastricht)" userId="1afa8510-4eed-4b73-a29e-678838cd8acd" providerId="ADAL" clId="{E6EBF5A5-CEC0-41D9-A58F-673413104E9E}" dt="2023-07-06T12:48:55.676" v="13"/>
        <pc:sldMasterMkLst>
          <pc:docMk/>
          <pc:sldMasterMk cId="2253695231" sldId="2147483754"/>
        </pc:sldMasterMkLst>
        <pc:spChg chg="add mod">
          <ac:chgData name="Hans Gelissen (DHL SSC Maastricht)" userId="1afa8510-4eed-4b73-a29e-678838cd8acd" providerId="ADAL" clId="{E6EBF5A5-CEC0-41D9-A58F-673413104E9E}" dt="2023-07-06T12:47:59.913" v="1"/>
          <ac:spMkLst>
            <pc:docMk/>
            <pc:sldMasterMk cId="2253695231" sldId="2147483754"/>
            <ac:spMk id="2" creationId="{CA189D84-B0AF-4AF1-6C26-F77162A6C055}"/>
          </ac:spMkLst>
        </pc:spChg>
        <pc:spChg chg="mod">
          <ac:chgData name="Hans Gelissen (DHL SSC Maastricht)" userId="1afa8510-4eed-4b73-a29e-678838cd8acd" providerId="ADAL" clId="{E6EBF5A5-CEC0-41D9-A58F-673413104E9E}" dt="2023-07-06T12:48:32.386" v="9" actId="113"/>
          <ac:spMkLst>
            <pc:docMk/>
            <pc:sldMasterMk cId="2253695231" sldId="2147483754"/>
            <ac:spMk id="4" creationId="{5872A442-584C-FE0D-ED88-FE202F149D97}"/>
          </ac:spMkLst>
        </pc:spChg>
        <pc:sldLayoutChg chg="addSp modSp">
          <pc:chgData name="Hans Gelissen (DHL SSC Maastricht)" userId="1afa8510-4eed-4b73-a29e-678838cd8acd" providerId="ADAL" clId="{E6EBF5A5-CEC0-41D9-A58F-673413104E9E}" dt="2023-07-06T12:48:50.060" v="10"/>
          <pc:sldLayoutMkLst>
            <pc:docMk/>
            <pc:sldMasterMk cId="2253695231" sldId="2147483754"/>
            <pc:sldLayoutMk cId="3898754725" sldId="2147484042"/>
          </pc:sldLayoutMkLst>
          <pc:spChg chg="add mod">
            <ac:chgData name="Hans Gelissen (DHL SSC Maastricht)" userId="1afa8510-4eed-4b73-a29e-678838cd8acd" providerId="ADAL" clId="{E6EBF5A5-CEC0-41D9-A58F-673413104E9E}" dt="2023-07-06T12:48:50.060" v="10"/>
            <ac:spMkLst>
              <pc:docMk/>
              <pc:sldMasterMk cId="2253695231" sldId="2147483754"/>
              <pc:sldLayoutMk cId="3898754725" sldId="2147484042"/>
              <ac:spMk id="2" creationId="{E552A0B5-BD51-D355-A40A-8B667923C163}"/>
            </ac:spMkLst>
          </pc:spChg>
        </pc:sldLayoutChg>
        <pc:sldLayoutChg chg="addSp modSp">
          <pc:chgData name="Hans Gelissen (DHL SSC Maastricht)" userId="1afa8510-4eed-4b73-a29e-678838cd8acd" providerId="ADAL" clId="{E6EBF5A5-CEC0-41D9-A58F-673413104E9E}" dt="2023-07-06T12:48:52.084" v="11"/>
          <pc:sldLayoutMkLst>
            <pc:docMk/>
            <pc:sldMasterMk cId="2253695231" sldId="2147483754"/>
            <pc:sldLayoutMk cId="2612442982" sldId="2147484043"/>
          </pc:sldLayoutMkLst>
          <pc:spChg chg="add mod">
            <ac:chgData name="Hans Gelissen (DHL SSC Maastricht)" userId="1afa8510-4eed-4b73-a29e-678838cd8acd" providerId="ADAL" clId="{E6EBF5A5-CEC0-41D9-A58F-673413104E9E}" dt="2023-07-06T12:48:52.084" v="11"/>
            <ac:spMkLst>
              <pc:docMk/>
              <pc:sldMasterMk cId="2253695231" sldId="2147483754"/>
              <pc:sldLayoutMk cId="2612442982" sldId="2147484043"/>
              <ac:spMk id="2" creationId="{999C3C3E-474E-CBDC-CAA9-7E8EC0879345}"/>
            </ac:spMkLst>
          </pc:spChg>
        </pc:sldLayoutChg>
        <pc:sldLayoutChg chg="addSp modSp">
          <pc:chgData name="Hans Gelissen (DHL SSC Maastricht)" userId="1afa8510-4eed-4b73-a29e-678838cd8acd" providerId="ADAL" clId="{E6EBF5A5-CEC0-41D9-A58F-673413104E9E}" dt="2023-07-06T12:48:53.921" v="12"/>
          <pc:sldLayoutMkLst>
            <pc:docMk/>
            <pc:sldMasterMk cId="2253695231" sldId="2147483754"/>
            <pc:sldLayoutMk cId="1151233661" sldId="2147484044"/>
          </pc:sldLayoutMkLst>
          <pc:spChg chg="add mod">
            <ac:chgData name="Hans Gelissen (DHL SSC Maastricht)" userId="1afa8510-4eed-4b73-a29e-678838cd8acd" providerId="ADAL" clId="{E6EBF5A5-CEC0-41D9-A58F-673413104E9E}" dt="2023-07-06T12:48:53.921" v="12"/>
            <ac:spMkLst>
              <pc:docMk/>
              <pc:sldMasterMk cId="2253695231" sldId="2147483754"/>
              <pc:sldLayoutMk cId="1151233661" sldId="2147484044"/>
              <ac:spMk id="2" creationId="{30E24BEC-018F-86DF-E9C8-9EC3A1C40D3D}"/>
            </ac:spMkLst>
          </pc:spChg>
        </pc:sldLayoutChg>
        <pc:sldLayoutChg chg="addSp modSp">
          <pc:chgData name="Hans Gelissen (DHL SSC Maastricht)" userId="1afa8510-4eed-4b73-a29e-678838cd8acd" providerId="ADAL" clId="{E6EBF5A5-CEC0-41D9-A58F-673413104E9E}" dt="2023-07-06T12:48:55.676" v="13"/>
          <pc:sldLayoutMkLst>
            <pc:docMk/>
            <pc:sldMasterMk cId="2253695231" sldId="2147483754"/>
            <pc:sldLayoutMk cId="646542367" sldId="2147484048"/>
          </pc:sldLayoutMkLst>
          <pc:spChg chg="add mod">
            <ac:chgData name="Hans Gelissen (DHL SSC Maastricht)" userId="1afa8510-4eed-4b73-a29e-678838cd8acd" providerId="ADAL" clId="{E6EBF5A5-CEC0-41D9-A58F-673413104E9E}" dt="2023-07-06T12:48:55.676" v="13"/>
            <ac:spMkLst>
              <pc:docMk/>
              <pc:sldMasterMk cId="2253695231" sldId="2147483754"/>
              <pc:sldLayoutMk cId="646542367" sldId="2147484048"/>
              <ac:spMk id="2" creationId="{CFB55FD3-753C-C775-B2AA-B91C303E2F25}"/>
            </ac:spMkLst>
          </pc:spChg>
        </pc:sldLayoutChg>
      </pc:sldMasterChg>
      <pc:sldMasterChg chg="addSp modSp modSldLayout">
        <pc:chgData name="Hans Gelissen (DHL SSC Maastricht)" userId="1afa8510-4eed-4b73-a29e-678838cd8acd" providerId="ADAL" clId="{E6EBF5A5-CEC0-41D9-A58F-673413104E9E}" dt="2023-07-06T12:50:00.653" v="45"/>
        <pc:sldMasterMkLst>
          <pc:docMk/>
          <pc:sldMasterMk cId="606287967" sldId="2147483766"/>
        </pc:sldMasterMkLst>
        <pc:spChg chg="add mod">
          <ac:chgData name="Hans Gelissen (DHL SSC Maastricht)" userId="1afa8510-4eed-4b73-a29e-678838cd8acd" providerId="ADAL" clId="{E6EBF5A5-CEC0-41D9-A58F-673413104E9E}" dt="2023-07-06T12:49:00.624" v="15"/>
          <ac:spMkLst>
            <pc:docMk/>
            <pc:sldMasterMk cId="606287967" sldId="2147483766"/>
            <ac:spMk id="2" creationId="{7FCE448D-418C-2A5F-A1A3-8A98761CF76A}"/>
          </ac:spMkLst>
        </pc:spChg>
        <pc:sldLayoutChg chg="addSp modSp">
          <pc:chgData name="Hans Gelissen (DHL SSC Maastricht)" userId="1afa8510-4eed-4b73-a29e-678838cd8acd" providerId="ADAL" clId="{E6EBF5A5-CEC0-41D9-A58F-673413104E9E}" dt="2023-07-06T12:50:00.653" v="45"/>
          <pc:sldLayoutMkLst>
            <pc:docMk/>
            <pc:sldMasterMk cId="606287967" sldId="2147483766"/>
            <pc:sldLayoutMk cId="757623512" sldId="2147483769"/>
          </pc:sldLayoutMkLst>
          <pc:spChg chg="add mod">
            <ac:chgData name="Hans Gelissen (DHL SSC Maastricht)" userId="1afa8510-4eed-4b73-a29e-678838cd8acd" providerId="ADAL" clId="{E6EBF5A5-CEC0-41D9-A58F-673413104E9E}" dt="2023-07-06T12:50:00.653" v="45"/>
            <ac:spMkLst>
              <pc:docMk/>
              <pc:sldMasterMk cId="606287967" sldId="2147483766"/>
              <pc:sldLayoutMk cId="757623512" sldId="2147483769"/>
              <ac:spMk id="2" creationId="{F52ACB85-5F95-530F-7F98-33C1D553DE09}"/>
            </ac:spMkLst>
          </pc:spChg>
        </pc:sldLayoutChg>
        <pc:sldLayoutChg chg="addSp modSp">
          <pc:chgData name="Hans Gelissen (DHL SSC Maastricht)" userId="1afa8510-4eed-4b73-a29e-678838cd8acd" providerId="ADAL" clId="{E6EBF5A5-CEC0-41D9-A58F-673413104E9E}" dt="2023-07-06T12:49:56.348" v="31"/>
          <pc:sldLayoutMkLst>
            <pc:docMk/>
            <pc:sldMasterMk cId="606287967" sldId="2147483766"/>
            <pc:sldLayoutMk cId="3218068742" sldId="2147483815"/>
          </pc:sldLayoutMkLst>
          <pc:spChg chg="add mod">
            <ac:chgData name="Hans Gelissen (DHL SSC Maastricht)" userId="1afa8510-4eed-4b73-a29e-678838cd8acd" providerId="ADAL" clId="{E6EBF5A5-CEC0-41D9-A58F-673413104E9E}" dt="2023-07-06T12:49:56.348" v="31"/>
            <ac:spMkLst>
              <pc:docMk/>
              <pc:sldMasterMk cId="606287967" sldId="2147483766"/>
              <pc:sldLayoutMk cId="3218068742" sldId="2147483815"/>
              <ac:spMk id="2" creationId="{C7167A16-EAE0-A61B-2865-BB791E244F85}"/>
            </ac:spMkLst>
          </pc:spChg>
        </pc:sldLayoutChg>
        <pc:sldLayoutChg chg="addSp modSp">
          <pc:chgData name="Hans Gelissen (DHL SSC Maastricht)" userId="1afa8510-4eed-4b73-a29e-678838cd8acd" providerId="ADAL" clId="{E6EBF5A5-CEC0-41D9-A58F-673413104E9E}" dt="2023-07-06T12:49:57.109" v="33"/>
          <pc:sldLayoutMkLst>
            <pc:docMk/>
            <pc:sldMasterMk cId="606287967" sldId="2147483766"/>
            <pc:sldLayoutMk cId="1696552350" sldId="2147483827"/>
          </pc:sldLayoutMkLst>
          <pc:spChg chg="add mod">
            <ac:chgData name="Hans Gelissen (DHL SSC Maastricht)" userId="1afa8510-4eed-4b73-a29e-678838cd8acd" providerId="ADAL" clId="{E6EBF5A5-CEC0-41D9-A58F-673413104E9E}" dt="2023-07-06T12:49:57.109" v="33"/>
            <ac:spMkLst>
              <pc:docMk/>
              <pc:sldMasterMk cId="606287967" sldId="2147483766"/>
              <pc:sldLayoutMk cId="1696552350" sldId="2147483827"/>
              <ac:spMk id="2" creationId="{C2CFFBA3-C2F2-0DBF-5A99-A097A97DC970}"/>
            </ac:spMkLst>
          </pc:spChg>
        </pc:sldLayoutChg>
        <pc:sldLayoutChg chg="addSp modSp">
          <pc:chgData name="Hans Gelissen (DHL SSC Maastricht)" userId="1afa8510-4eed-4b73-a29e-678838cd8acd" providerId="ADAL" clId="{E6EBF5A5-CEC0-41D9-A58F-673413104E9E}" dt="2023-07-06T12:49:57.357" v="34"/>
          <pc:sldLayoutMkLst>
            <pc:docMk/>
            <pc:sldMasterMk cId="606287967" sldId="2147483766"/>
            <pc:sldLayoutMk cId="3968345858" sldId="2147483828"/>
          </pc:sldLayoutMkLst>
          <pc:spChg chg="add mod">
            <ac:chgData name="Hans Gelissen (DHL SSC Maastricht)" userId="1afa8510-4eed-4b73-a29e-678838cd8acd" providerId="ADAL" clId="{E6EBF5A5-CEC0-41D9-A58F-673413104E9E}" dt="2023-07-06T12:49:57.357" v="34"/>
            <ac:spMkLst>
              <pc:docMk/>
              <pc:sldMasterMk cId="606287967" sldId="2147483766"/>
              <pc:sldLayoutMk cId="3968345858" sldId="2147483828"/>
              <ac:spMk id="2" creationId="{C685B3C7-680B-1809-7C08-83E7D93E7BD6}"/>
            </ac:spMkLst>
          </pc:spChg>
        </pc:sldLayoutChg>
        <pc:sldLayoutChg chg="addSp modSp">
          <pc:chgData name="Hans Gelissen (DHL SSC Maastricht)" userId="1afa8510-4eed-4b73-a29e-678838cd8acd" providerId="ADAL" clId="{E6EBF5A5-CEC0-41D9-A58F-673413104E9E}" dt="2023-07-06T12:49:57.628" v="35"/>
          <pc:sldLayoutMkLst>
            <pc:docMk/>
            <pc:sldMasterMk cId="606287967" sldId="2147483766"/>
            <pc:sldLayoutMk cId="875516560" sldId="2147483829"/>
          </pc:sldLayoutMkLst>
          <pc:spChg chg="add mod">
            <ac:chgData name="Hans Gelissen (DHL SSC Maastricht)" userId="1afa8510-4eed-4b73-a29e-678838cd8acd" providerId="ADAL" clId="{E6EBF5A5-CEC0-41D9-A58F-673413104E9E}" dt="2023-07-06T12:49:57.628" v="35"/>
            <ac:spMkLst>
              <pc:docMk/>
              <pc:sldMasterMk cId="606287967" sldId="2147483766"/>
              <pc:sldLayoutMk cId="875516560" sldId="2147483829"/>
              <ac:spMk id="2" creationId="{BB3D0B97-CEEB-8C55-44C8-DFBDA46E8AB3}"/>
            </ac:spMkLst>
          </pc:spChg>
        </pc:sldLayoutChg>
        <pc:sldLayoutChg chg="addSp modSp">
          <pc:chgData name="Hans Gelissen (DHL SSC Maastricht)" userId="1afa8510-4eed-4b73-a29e-678838cd8acd" providerId="ADAL" clId="{E6EBF5A5-CEC0-41D9-A58F-673413104E9E}" dt="2023-07-06T12:49:56.885" v="32"/>
          <pc:sldLayoutMkLst>
            <pc:docMk/>
            <pc:sldMasterMk cId="606287967" sldId="2147483766"/>
            <pc:sldLayoutMk cId="3381309611" sldId="2147483833"/>
          </pc:sldLayoutMkLst>
          <pc:spChg chg="add mod">
            <ac:chgData name="Hans Gelissen (DHL SSC Maastricht)" userId="1afa8510-4eed-4b73-a29e-678838cd8acd" providerId="ADAL" clId="{E6EBF5A5-CEC0-41D9-A58F-673413104E9E}" dt="2023-07-06T12:49:56.885" v="32"/>
            <ac:spMkLst>
              <pc:docMk/>
              <pc:sldMasterMk cId="606287967" sldId="2147483766"/>
              <pc:sldLayoutMk cId="3381309611" sldId="2147483833"/>
              <ac:spMk id="2" creationId="{5B2B5AFF-62F8-61C9-60EB-072D0500C14A}"/>
            </ac:spMkLst>
          </pc:spChg>
        </pc:sldLayoutChg>
        <pc:sldLayoutChg chg="addSp modSp">
          <pc:chgData name="Hans Gelissen (DHL SSC Maastricht)" userId="1afa8510-4eed-4b73-a29e-678838cd8acd" providerId="ADAL" clId="{E6EBF5A5-CEC0-41D9-A58F-673413104E9E}" dt="2023-07-06T12:49:57.920" v="36"/>
          <pc:sldLayoutMkLst>
            <pc:docMk/>
            <pc:sldMasterMk cId="606287967" sldId="2147483766"/>
            <pc:sldLayoutMk cId="2109719178" sldId="2147483881"/>
          </pc:sldLayoutMkLst>
          <pc:spChg chg="add mod">
            <ac:chgData name="Hans Gelissen (DHL SSC Maastricht)" userId="1afa8510-4eed-4b73-a29e-678838cd8acd" providerId="ADAL" clId="{E6EBF5A5-CEC0-41D9-A58F-673413104E9E}" dt="2023-07-06T12:49:57.920" v="36"/>
            <ac:spMkLst>
              <pc:docMk/>
              <pc:sldMasterMk cId="606287967" sldId="2147483766"/>
              <pc:sldLayoutMk cId="2109719178" sldId="2147483881"/>
              <ac:spMk id="2" creationId="{6546058B-CCBB-F224-4F7A-F1B29730A3B2}"/>
            </ac:spMkLst>
          </pc:spChg>
        </pc:sldLayoutChg>
        <pc:sldLayoutChg chg="addSp modSp">
          <pc:chgData name="Hans Gelissen (DHL SSC Maastricht)" userId="1afa8510-4eed-4b73-a29e-678838cd8acd" providerId="ADAL" clId="{E6EBF5A5-CEC0-41D9-A58F-673413104E9E}" dt="2023-07-06T12:49:58.165" v="37"/>
          <pc:sldLayoutMkLst>
            <pc:docMk/>
            <pc:sldMasterMk cId="606287967" sldId="2147483766"/>
            <pc:sldLayoutMk cId="1541074054" sldId="2147483883"/>
          </pc:sldLayoutMkLst>
          <pc:spChg chg="add mod">
            <ac:chgData name="Hans Gelissen (DHL SSC Maastricht)" userId="1afa8510-4eed-4b73-a29e-678838cd8acd" providerId="ADAL" clId="{E6EBF5A5-CEC0-41D9-A58F-673413104E9E}" dt="2023-07-06T12:49:58.165" v="37"/>
            <ac:spMkLst>
              <pc:docMk/>
              <pc:sldMasterMk cId="606287967" sldId="2147483766"/>
              <pc:sldLayoutMk cId="1541074054" sldId="2147483883"/>
              <ac:spMk id="2" creationId="{6694FAAD-C556-001E-E40C-58E3CEBB4C5A}"/>
            </ac:spMkLst>
          </pc:spChg>
        </pc:sldLayoutChg>
        <pc:sldLayoutChg chg="addSp modSp">
          <pc:chgData name="Hans Gelissen (DHL SSC Maastricht)" userId="1afa8510-4eed-4b73-a29e-678838cd8acd" providerId="ADAL" clId="{E6EBF5A5-CEC0-41D9-A58F-673413104E9E}" dt="2023-07-06T12:49:58.647" v="38"/>
          <pc:sldLayoutMkLst>
            <pc:docMk/>
            <pc:sldMasterMk cId="606287967" sldId="2147483766"/>
            <pc:sldLayoutMk cId="639221087" sldId="2147483884"/>
          </pc:sldLayoutMkLst>
          <pc:spChg chg="add mod">
            <ac:chgData name="Hans Gelissen (DHL SSC Maastricht)" userId="1afa8510-4eed-4b73-a29e-678838cd8acd" providerId="ADAL" clId="{E6EBF5A5-CEC0-41D9-A58F-673413104E9E}" dt="2023-07-06T12:49:58.647" v="38"/>
            <ac:spMkLst>
              <pc:docMk/>
              <pc:sldMasterMk cId="606287967" sldId="2147483766"/>
              <pc:sldLayoutMk cId="639221087" sldId="2147483884"/>
              <ac:spMk id="2" creationId="{020C5675-ED9D-59A2-791A-52359370835E}"/>
            </ac:spMkLst>
          </pc:spChg>
        </pc:sldLayoutChg>
        <pc:sldLayoutChg chg="addSp modSp">
          <pc:chgData name="Hans Gelissen (DHL SSC Maastricht)" userId="1afa8510-4eed-4b73-a29e-678838cd8acd" providerId="ADAL" clId="{E6EBF5A5-CEC0-41D9-A58F-673413104E9E}" dt="2023-07-06T12:49:58.898" v="39"/>
          <pc:sldLayoutMkLst>
            <pc:docMk/>
            <pc:sldMasterMk cId="606287967" sldId="2147483766"/>
            <pc:sldLayoutMk cId="609674377" sldId="2147483929"/>
          </pc:sldLayoutMkLst>
          <pc:spChg chg="add mod">
            <ac:chgData name="Hans Gelissen (DHL SSC Maastricht)" userId="1afa8510-4eed-4b73-a29e-678838cd8acd" providerId="ADAL" clId="{E6EBF5A5-CEC0-41D9-A58F-673413104E9E}" dt="2023-07-06T12:49:58.898" v="39"/>
            <ac:spMkLst>
              <pc:docMk/>
              <pc:sldMasterMk cId="606287967" sldId="2147483766"/>
              <pc:sldLayoutMk cId="609674377" sldId="2147483929"/>
              <ac:spMk id="2" creationId="{F5D94243-15A8-7AEE-79AA-93448940185B}"/>
            </ac:spMkLst>
          </pc:spChg>
        </pc:sldLayoutChg>
        <pc:sldLayoutChg chg="addSp modSp">
          <pc:chgData name="Hans Gelissen (DHL SSC Maastricht)" userId="1afa8510-4eed-4b73-a29e-678838cd8acd" providerId="ADAL" clId="{E6EBF5A5-CEC0-41D9-A58F-673413104E9E}" dt="2023-07-06T12:49:59.139" v="40"/>
          <pc:sldLayoutMkLst>
            <pc:docMk/>
            <pc:sldMasterMk cId="606287967" sldId="2147483766"/>
            <pc:sldLayoutMk cId="3890049931" sldId="2147483931"/>
          </pc:sldLayoutMkLst>
          <pc:spChg chg="add mod">
            <ac:chgData name="Hans Gelissen (DHL SSC Maastricht)" userId="1afa8510-4eed-4b73-a29e-678838cd8acd" providerId="ADAL" clId="{E6EBF5A5-CEC0-41D9-A58F-673413104E9E}" dt="2023-07-06T12:49:59.139" v="40"/>
            <ac:spMkLst>
              <pc:docMk/>
              <pc:sldMasterMk cId="606287967" sldId="2147483766"/>
              <pc:sldLayoutMk cId="3890049931" sldId="2147483931"/>
              <ac:spMk id="2" creationId="{26ED8A23-984B-CDC4-3D1B-B8A4C6FCD6C6}"/>
            </ac:spMkLst>
          </pc:spChg>
        </pc:sldLayoutChg>
        <pc:sldLayoutChg chg="addSp modSp">
          <pc:chgData name="Hans Gelissen (DHL SSC Maastricht)" userId="1afa8510-4eed-4b73-a29e-678838cd8acd" providerId="ADAL" clId="{E6EBF5A5-CEC0-41D9-A58F-673413104E9E}" dt="2023-07-06T12:49:59.601" v="41"/>
          <pc:sldLayoutMkLst>
            <pc:docMk/>
            <pc:sldMasterMk cId="606287967" sldId="2147483766"/>
            <pc:sldLayoutMk cId="1138127033" sldId="2147483932"/>
          </pc:sldLayoutMkLst>
          <pc:spChg chg="add mod">
            <ac:chgData name="Hans Gelissen (DHL SSC Maastricht)" userId="1afa8510-4eed-4b73-a29e-678838cd8acd" providerId="ADAL" clId="{E6EBF5A5-CEC0-41D9-A58F-673413104E9E}" dt="2023-07-06T12:49:59.601" v="41"/>
            <ac:spMkLst>
              <pc:docMk/>
              <pc:sldMasterMk cId="606287967" sldId="2147483766"/>
              <pc:sldLayoutMk cId="1138127033" sldId="2147483932"/>
              <ac:spMk id="2" creationId="{1CEF1D07-E412-F65F-0EA3-05B0319DD5AF}"/>
            </ac:spMkLst>
          </pc:spChg>
        </pc:sldLayoutChg>
        <pc:sldLayoutChg chg="addSp modSp">
          <pc:chgData name="Hans Gelissen (DHL SSC Maastricht)" userId="1afa8510-4eed-4b73-a29e-678838cd8acd" providerId="ADAL" clId="{E6EBF5A5-CEC0-41D9-A58F-673413104E9E}" dt="2023-07-06T12:49:59.865" v="42"/>
          <pc:sldLayoutMkLst>
            <pc:docMk/>
            <pc:sldMasterMk cId="606287967" sldId="2147483766"/>
            <pc:sldLayoutMk cId="4096902305" sldId="2147483933"/>
          </pc:sldLayoutMkLst>
          <pc:spChg chg="add mod">
            <ac:chgData name="Hans Gelissen (DHL SSC Maastricht)" userId="1afa8510-4eed-4b73-a29e-678838cd8acd" providerId="ADAL" clId="{E6EBF5A5-CEC0-41D9-A58F-673413104E9E}" dt="2023-07-06T12:49:59.865" v="42"/>
            <ac:spMkLst>
              <pc:docMk/>
              <pc:sldMasterMk cId="606287967" sldId="2147483766"/>
              <pc:sldLayoutMk cId="4096902305" sldId="2147483933"/>
              <ac:spMk id="2" creationId="{902B23BB-241E-AC65-F72B-7CA618AC0F09}"/>
            </ac:spMkLst>
          </pc:spChg>
        </pc:sldLayoutChg>
        <pc:sldLayoutChg chg="addSp modSp">
          <pc:chgData name="Hans Gelissen (DHL SSC Maastricht)" userId="1afa8510-4eed-4b73-a29e-678838cd8acd" providerId="ADAL" clId="{E6EBF5A5-CEC0-41D9-A58F-673413104E9E}" dt="2023-07-06T12:50:00.114" v="43"/>
          <pc:sldLayoutMkLst>
            <pc:docMk/>
            <pc:sldMasterMk cId="606287967" sldId="2147483766"/>
            <pc:sldLayoutMk cId="1328022181" sldId="2147483935"/>
          </pc:sldLayoutMkLst>
          <pc:spChg chg="add mod">
            <ac:chgData name="Hans Gelissen (DHL SSC Maastricht)" userId="1afa8510-4eed-4b73-a29e-678838cd8acd" providerId="ADAL" clId="{E6EBF5A5-CEC0-41D9-A58F-673413104E9E}" dt="2023-07-06T12:50:00.114" v="43"/>
            <ac:spMkLst>
              <pc:docMk/>
              <pc:sldMasterMk cId="606287967" sldId="2147483766"/>
              <pc:sldLayoutMk cId="1328022181" sldId="2147483935"/>
              <ac:spMk id="2" creationId="{8BD84C4F-57F6-FD42-564B-1388832FE2C7}"/>
            </ac:spMkLst>
          </pc:spChg>
        </pc:sldLayoutChg>
        <pc:sldLayoutChg chg="addSp modSp">
          <pc:chgData name="Hans Gelissen (DHL SSC Maastricht)" userId="1afa8510-4eed-4b73-a29e-678838cd8acd" providerId="ADAL" clId="{E6EBF5A5-CEC0-41D9-A58F-673413104E9E}" dt="2023-07-06T12:50:00.470" v="44"/>
          <pc:sldLayoutMkLst>
            <pc:docMk/>
            <pc:sldMasterMk cId="606287967" sldId="2147483766"/>
            <pc:sldLayoutMk cId="1009040859" sldId="2147483936"/>
          </pc:sldLayoutMkLst>
          <pc:spChg chg="add mod">
            <ac:chgData name="Hans Gelissen (DHL SSC Maastricht)" userId="1afa8510-4eed-4b73-a29e-678838cd8acd" providerId="ADAL" clId="{E6EBF5A5-CEC0-41D9-A58F-673413104E9E}" dt="2023-07-06T12:50:00.470" v="44"/>
            <ac:spMkLst>
              <pc:docMk/>
              <pc:sldMasterMk cId="606287967" sldId="2147483766"/>
              <pc:sldLayoutMk cId="1009040859" sldId="2147483936"/>
              <ac:spMk id="2" creationId="{B626891B-C4F0-FF22-6E61-202271B5314F}"/>
            </ac:spMkLst>
          </pc:spChg>
        </pc:sldLayoutChg>
      </pc:sldMasterChg>
      <pc:sldMasterChg chg="addSp delSp modSp mod">
        <pc:chgData name="Hans Gelissen (DHL SSC Maastricht)" userId="1afa8510-4eed-4b73-a29e-678838cd8acd" providerId="ADAL" clId="{E6EBF5A5-CEC0-41D9-A58F-673413104E9E}" dt="2023-07-06T12:49:10.921" v="18" actId="1076"/>
        <pc:sldMasterMkLst>
          <pc:docMk/>
          <pc:sldMasterMk cId="727954729" sldId="2147483772"/>
        </pc:sldMasterMkLst>
        <pc:spChg chg="mod">
          <ac:chgData name="Hans Gelissen (DHL SSC Maastricht)" userId="1afa8510-4eed-4b73-a29e-678838cd8acd" providerId="ADAL" clId="{E6EBF5A5-CEC0-41D9-A58F-673413104E9E}" dt="2023-07-06T12:49:10.921" v="18" actId="1076"/>
          <ac:spMkLst>
            <pc:docMk/>
            <pc:sldMasterMk cId="727954729" sldId="2147483772"/>
            <ac:spMk id="2" creationId="{9B6C9B6F-FA65-7036-8FA4-35FEF6BF24FF}"/>
          </ac:spMkLst>
        </pc:spChg>
        <pc:spChg chg="add del mod">
          <ac:chgData name="Hans Gelissen (DHL SSC Maastricht)" userId="1afa8510-4eed-4b73-a29e-678838cd8acd" providerId="ADAL" clId="{E6EBF5A5-CEC0-41D9-A58F-673413104E9E}" dt="2023-07-06T12:49:06.617" v="17" actId="478"/>
          <ac:spMkLst>
            <pc:docMk/>
            <pc:sldMasterMk cId="727954729" sldId="2147483772"/>
            <ac:spMk id="4" creationId="{55A97D83-46DE-ED02-70CC-9430268EB6C2}"/>
          </ac:spMkLst>
        </pc:spChg>
      </pc:sldMasterChg>
      <pc:sldMasterChg chg="addSp modSp modSldLayout">
        <pc:chgData name="Hans Gelissen (DHL SSC Maastricht)" userId="1afa8510-4eed-4b73-a29e-678838cd8acd" providerId="ADAL" clId="{E6EBF5A5-CEC0-41D9-A58F-673413104E9E}" dt="2023-07-06T12:50:17.568" v="65"/>
        <pc:sldMasterMkLst>
          <pc:docMk/>
          <pc:sldMasterMk cId="3687066805" sldId="2147483775"/>
        </pc:sldMasterMkLst>
        <pc:spChg chg="add mod">
          <ac:chgData name="Hans Gelissen (DHL SSC Maastricht)" userId="1afa8510-4eed-4b73-a29e-678838cd8acd" providerId="ADAL" clId="{E6EBF5A5-CEC0-41D9-A58F-673413104E9E}" dt="2023-07-06T12:49:15.659" v="19"/>
          <ac:spMkLst>
            <pc:docMk/>
            <pc:sldMasterMk cId="3687066805" sldId="2147483775"/>
            <ac:spMk id="2" creationId="{742FDE21-6DC1-0004-EA09-3865901B577B}"/>
          </ac:spMkLst>
        </pc:spChg>
        <pc:sldLayoutChg chg="addSp modSp">
          <pc:chgData name="Hans Gelissen (DHL SSC Maastricht)" userId="1afa8510-4eed-4b73-a29e-678838cd8acd" providerId="ADAL" clId="{E6EBF5A5-CEC0-41D9-A58F-673413104E9E}" dt="2023-07-06T12:50:09.065" v="46"/>
          <pc:sldLayoutMkLst>
            <pc:docMk/>
            <pc:sldMasterMk cId="3687066805" sldId="2147483775"/>
            <pc:sldLayoutMk cId="680064133" sldId="2147483745"/>
          </pc:sldLayoutMkLst>
          <pc:spChg chg="add mod">
            <ac:chgData name="Hans Gelissen (DHL SSC Maastricht)" userId="1afa8510-4eed-4b73-a29e-678838cd8acd" providerId="ADAL" clId="{E6EBF5A5-CEC0-41D9-A58F-673413104E9E}" dt="2023-07-06T12:50:09.065" v="46"/>
            <ac:spMkLst>
              <pc:docMk/>
              <pc:sldMasterMk cId="3687066805" sldId="2147483775"/>
              <pc:sldLayoutMk cId="680064133" sldId="2147483745"/>
              <ac:spMk id="3" creationId="{750F235D-BF0E-9EFE-60DE-EB6892BE7835}"/>
            </ac:spMkLst>
          </pc:spChg>
        </pc:sldLayoutChg>
        <pc:sldLayoutChg chg="addSp modSp">
          <pc:chgData name="Hans Gelissen (DHL SSC Maastricht)" userId="1afa8510-4eed-4b73-a29e-678838cd8acd" providerId="ADAL" clId="{E6EBF5A5-CEC0-41D9-A58F-673413104E9E}" dt="2023-07-06T12:50:09.498" v="47"/>
          <pc:sldLayoutMkLst>
            <pc:docMk/>
            <pc:sldMasterMk cId="3687066805" sldId="2147483775"/>
            <pc:sldLayoutMk cId="3786456764" sldId="2147483776"/>
          </pc:sldLayoutMkLst>
          <pc:spChg chg="add mod">
            <ac:chgData name="Hans Gelissen (DHL SSC Maastricht)" userId="1afa8510-4eed-4b73-a29e-678838cd8acd" providerId="ADAL" clId="{E6EBF5A5-CEC0-41D9-A58F-673413104E9E}" dt="2023-07-06T12:50:09.498" v="47"/>
            <ac:spMkLst>
              <pc:docMk/>
              <pc:sldMasterMk cId="3687066805" sldId="2147483775"/>
              <pc:sldLayoutMk cId="3786456764" sldId="2147483776"/>
              <ac:spMk id="3" creationId="{F78ACD34-166F-CC6F-EE62-926F0C4F31D7}"/>
            </ac:spMkLst>
          </pc:spChg>
        </pc:sldLayoutChg>
        <pc:sldLayoutChg chg="addSp modSp">
          <pc:chgData name="Hans Gelissen (DHL SSC Maastricht)" userId="1afa8510-4eed-4b73-a29e-678838cd8acd" providerId="ADAL" clId="{E6EBF5A5-CEC0-41D9-A58F-673413104E9E}" dt="2023-07-06T12:50:17.568" v="65"/>
          <pc:sldLayoutMkLst>
            <pc:docMk/>
            <pc:sldMasterMk cId="3687066805" sldId="2147483775"/>
            <pc:sldLayoutMk cId="1267003545" sldId="2147483780"/>
          </pc:sldLayoutMkLst>
          <pc:spChg chg="add mod">
            <ac:chgData name="Hans Gelissen (DHL SSC Maastricht)" userId="1afa8510-4eed-4b73-a29e-678838cd8acd" providerId="ADAL" clId="{E6EBF5A5-CEC0-41D9-A58F-673413104E9E}" dt="2023-07-06T12:50:17.568" v="65"/>
            <ac:spMkLst>
              <pc:docMk/>
              <pc:sldMasterMk cId="3687066805" sldId="2147483775"/>
              <pc:sldLayoutMk cId="1267003545" sldId="2147483780"/>
              <ac:spMk id="3" creationId="{2DD6175A-08E6-6013-CD7A-425E05F3507A}"/>
            </ac:spMkLst>
          </pc:spChg>
        </pc:sldLayoutChg>
        <pc:sldLayoutChg chg="addSp modSp">
          <pc:chgData name="Hans Gelissen (DHL SSC Maastricht)" userId="1afa8510-4eed-4b73-a29e-678838cd8acd" providerId="ADAL" clId="{E6EBF5A5-CEC0-41D9-A58F-673413104E9E}" dt="2023-07-06T12:50:09.815" v="48"/>
          <pc:sldLayoutMkLst>
            <pc:docMk/>
            <pc:sldMasterMk cId="3687066805" sldId="2147483775"/>
            <pc:sldLayoutMk cId="1204698674" sldId="2147483781"/>
          </pc:sldLayoutMkLst>
          <pc:spChg chg="add mod">
            <ac:chgData name="Hans Gelissen (DHL SSC Maastricht)" userId="1afa8510-4eed-4b73-a29e-678838cd8acd" providerId="ADAL" clId="{E6EBF5A5-CEC0-41D9-A58F-673413104E9E}" dt="2023-07-06T12:50:09.815" v="48"/>
            <ac:spMkLst>
              <pc:docMk/>
              <pc:sldMasterMk cId="3687066805" sldId="2147483775"/>
              <pc:sldLayoutMk cId="1204698674" sldId="2147483781"/>
              <ac:spMk id="3" creationId="{52231987-3ECB-7B41-D6EB-A401DA2F1DAF}"/>
            </ac:spMkLst>
          </pc:spChg>
        </pc:sldLayoutChg>
        <pc:sldLayoutChg chg="addSp modSp">
          <pc:chgData name="Hans Gelissen (DHL SSC Maastricht)" userId="1afa8510-4eed-4b73-a29e-678838cd8acd" providerId="ADAL" clId="{E6EBF5A5-CEC0-41D9-A58F-673413104E9E}" dt="2023-07-06T12:50:10.463" v="50"/>
          <pc:sldLayoutMkLst>
            <pc:docMk/>
            <pc:sldMasterMk cId="3687066805" sldId="2147483775"/>
            <pc:sldLayoutMk cId="1596137304" sldId="2147483830"/>
          </pc:sldLayoutMkLst>
          <pc:spChg chg="add mod">
            <ac:chgData name="Hans Gelissen (DHL SSC Maastricht)" userId="1afa8510-4eed-4b73-a29e-678838cd8acd" providerId="ADAL" clId="{E6EBF5A5-CEC0-41D9-A58F-673413104E9E}" dt="2023-07-06T12:50:10.463" v="50"/>
            <ac:spMkLst>
              <pc:docMk/>
              <pc:sldMasterMk cId="3687066805" sldId="2147483775"/>
              <pc:sldLayoutMk cId="1596137304" sldId="2147483830"/>
              <ac:spMk id="3" creationId="{3F473794-6DE8-3F92-3D09-69ED73229F20}"/>
            </ac:spMkLst>
          </pc:spChg>
        </pc:sldLayoutChg>
        <pc:sldLayoutChg chg="addSp modSp">
          <pc:chgData name="Hans Gelissen (DHL SSC Maastricht)" userId="1afa8510-4eed-4b73-a29e-678838cd8acd" providerId="ADAL" clId="{E6EBF5A5-CEC0-41D9-A58F-673413104E9E}" dt="2023-07-06T12:50:10.792" v="51"/>
          <pc:sldLayoutMkLst>
            <pc:docMk/>
            <pc:sldMasterMk cId="3687066805" sldId="2147483775"/>
            <pc:sldLayoutMk cId="2644514963" sldId="2147483831"/>
          </pc:sldLayoutMkLst>
          <pc:spChg chg="add mod">
            <ac:chgData name="Hans Gelissen (DHL SSC Maastricht)" userId="1afa8510-4eed-4b73-a29e-678838cd8acd" providerId="ADAL" clId="{E6EBF5A5-CEC0-41D9-A58F-673413104E9E}" dt="2023-07-06T12:50:10.792" v="51"/>
            <ac:spMkLst>
              <pc:docMk/>
              <pc:sldMasterMk cId="3687066805" sldId="2147483775"/>
              <pc:sldLayoutMk cId="2644514963" sldId="2147483831"/>
              <ac:spMk id="3" creationId="{0D218822-8D24-BA25-BB99-D942405AF53D}"/>
            </ac:spMkLst>
          </pc:spChg>
        </pc:sldLayoutChg>
        <pc:sldLayoutChg chg="addSp modSp">
          <pc:chgData name="Hans Gelissen (DHL SSC Maastricht)" userId="1afa8510-4eed-4b73-a29e-678838cd8acd" providerId="ADAL" clId="{E6EBF5A5-CEC0-41D9-A58F-673413104E9E}" dt="2023-07-06T12:50:11.107" v="52"/>
          <pc:sldLayoutMkLst>
            <pc:docMk/>
            <pc:sldMasterMk cId="3687066805" sldId="2147483775"/>
            <pc:sldLayoutMk cId="4247405665" sldId="2147483832"/>
          </pc:sldLayoutMkLst>
          <pc:spChg chg="add mod">
            <ac:chgData name="Hans Gelissen (DHL SSC Maastricht)" userId="1afa8510-4eed-4b73-a29e-678838cd8acd" providerId="ADAL" clId="{E6EBF5A5-CEC0-41D9-A58F-673413104E9E}" dt="2023-07-06T12:50:11.107" v="52"/>
            <ac:spMkLst>
              <pc:docMk/>
              <pc:sldMasterMk cId="3687066805" sldId="2147483775"/>
              <pc:sldLayoutMk cId="4247405665" sldId="2147483832"/>
              <ac:spMk id="3" creationId="{8AD4BC04-9EDD-831C-23E4-98C216508557}"/>
            </ac:spMkLst>
          </pc:spChg>
        </pc:sldLayoutChg>
        <pc:sldLayoutChg chg="addSp modSp">
          <pc:chgData name="Hans Gelissen (DHL SSC Maastricht)" userId="1afa8510-4eed-4b73-a29e-678838cd8acd" providerId="ADAL" clId="{E6EBF5A5-CEC0-41D9-A58F-673413104E9E}" dt="2023-07-06T12:50:10.160" v="49"/>
          <pc:sldLayoutMkLst>
            <pc:docMk/>
            <pc:sldMasterMk cId="3687066805" sldId="2147483775"/>
            <pc:sldLayoutMk cId="662326433" sldId="2147483839"/>
          </pc:sldLayoutMkLst>
          <pc:spChg chg="add mod">
            <ac:chgData name="Hans Gelissen (DHL SSC Maastricht)" userId="1afa8510-4eed-4b73-a29e-678838cd8acd" providerId="ADAL" clId="{E6EBF5A5-CEC0-41D9-A58F-673413104E9E}" dt="2023-07-06T12:50:10.160" v="49"/>
            <ac:spMkLst>
              <pc:docMk/>
              <pc:sldMasterMk cId="3687066805" sldId="2147483775"/>
              <pc:sldLayoutMk cId="662326433" sldId="2147483839"/>
              <ac:spMk id="3" creationId="{0F9F7FA5-D7B6-5BED-AB16-C9637D4401B5}"/>
            </ac:spMkLst>
          </pc:spChg>
        </pc:sldLayoutChg>
        <pc:sldLayoutChg chg="addSp modSp">
          <pc:chgData name="Hans Gelissen (DHL SSC Maastricht)" userId="1afa8510-4eed-4b73-a29e-678838cd8acd" providerId="ADAL" clId="{E6EBF5A5-CEC0-41D9-A58F-673413104E9E}" dt="2023-07-06T12:50:11.765" v="54"/>
          <pc:sldLayoutMkLst>
            <pc:docMk/>
            <pc:sldMasterMk cId="3687066805" sldId="2147483775"/>
            <pc:sldLayoutMk cId="1732030272" sldId="2147483886"/>
          </pc:sldLayoutMkLst>
          <pc:spChg chg="add mod">
            <ac:chgData name="Hans Gelissen (DHL SSC Maastricht)" userId="1afa8510-4eed-4b73-a29e-678838cd8acd" providerId="ADAL" clId="{E6EBF5A5-CEC0-41D9-A58F-673413104E9E}" dt="2023-07-06T12:50:11.765" v="54"/>
            <ac:spMkLst>
              <pc:docMk/>
              <pc:sldMasterMk cId="3687066805" sldId="2147483775"/>
              <pc:sldLayoutMk cId="1732030272" sldId="2147483886"/>
              <ac:spMk id="3" creationId="{1BF27FD7-1A84-3C2E-E26F-23D28C8EF843}"/>
            </ac:spMkLst>
          </pc:spChg>
        </pc:sldLayoutChg>
        <pc:sldLayoutChg chg="addSp modSp">
          <pc:chgData name="Hans Gelissen (DHL SSC Maastricht)" userId="1afa8510-4eed-4b73-a29e-678838cd8acd" providerId="ADAL" clId="{E6EBF5A5-CEC0-41D9-A58F-673413104E9E}" dt="2023-07-06T12:50:12.091" v="55"/>
          <pc:sldLayoutMkLst>
            <pc:docMk/>
            <pc:sldMasterMk cId="3687066805" sldId="2147483775"/>
            <pc:sldLayoutMk cId="1485632788" sldId="2147483887"/>
          </pc:sldLayoutMkLst>
          <pc:spChg chg="add mod">
            <ac:chgData name="Hans Gelissen (DHL SSC Maastricht)" userId="1afa8510-4eed-4b73-a29e-678838cd8acd" providerId="ADAL" clId="{E6EBF5A5-CEC0-41D9-A58F-673413104E9E}" dt="2023-07-06T12:50:12.091" v="55"/>
            <ac:spMkLst>
              <pc:docMk/>
              <pc:sldMasterMk cId="3687066805" sldId="2147483775"/>
              <pc:sldLayoutMk cId="1485632788" sldId="2147483887"/>
              <ac:spMk id="3" creationId="{0A7BA571-8CA3-D7F9-A3D2-30D5AE860CC8}"/>
            </ac:spMkLst>
          </pc:spChg>
        </pc:sldLayoutChg>
        <pc:sldLayoutChg chg="addSp modSp">
          <pc:chgData name="Hans Gelissen (DHL SSC Maastricht)" userId="1afa8510-4eed-4b73-a29e-678838cd8acd" providerId="ADAL" clId="{E6EBF5A5-CEC0-41D9-A58F-673413104E9E}" dt="2023-07-06T12:50:13.348" v="56"/>
          <pc:sldLayoutMkLst>
            <pc:docMk/>
            <pc:sldMasterMk cId="3687066805" sldId="2147483775"/>
            <pc:sldLayoutMk cId="221168642" sldId="2147483888"/>
          </pc:sldLayoutMkLst>
          <pc:spChg chg="add mod">
            <ac:chgData name="Hans Gelissen (DHL SSC Maastricht)" userId="1afa8510-4eed-4b73-a29e-678838cd8acd" providerId="ADAL" clId="{E6EBF5A5-CEC0-41D9-A58F-673413104E9E}" dt="2023-07-06T12:50:13.348" v="56"/>
            <ac:spMkLst>
              <pc:docMk/>
              <pc:sldMasterMk cId="3687066805" sldId="2147483775"/>
              <pc:sldLayoutMk cId="221168642" sldId="2147483888"/>
              <ac:spMk id="3" creationId="{94676403-9466-503D-014D-0341843639D9}"/>
            </ac:spMkLst>
          </pc:spChg>
        </pc:sldLayoutChg>
        <pc:sldLayoutChg chg="addSp modSp">
          <pc:chgData name="Hans Gelissen (DHL SSC Maastricht)" userId="1afa8510-4eed-4b73-a29e-678838cd8acd" providerId="ADAL" clId="{E6EBF5A5-CEC0-41D9-A58F-673413104E9E}" dt="2023-07-06T12:50:11.425" v="53"/>
          <pc:sldLayoutMkLst>
            <pc:docMk/>
            <pc:sldMasterMk cId="3687066805" sldId="2147483775"/>
            <pc:sldLayoutMk cId="2337798684" sldId="2147483889"/>
          </pc:sldLayoutMkLst>
          <pc:spChg chg="add mod">
            <ac:chgData name="Hans Gelissen (DHL SSC Maastricht)" userId="1afa8510-4eed-4b73-a29e-678838cd8acd" providerId="ADAL" clId="{E6EBF5A5-CEC0-41D9-A58F-673413104E9E}" dt="2023-07-06T12:50:11.425" v="53"/>
            <ac:spMkLst>
              <pc:docMk/>
              <pc:sldMasterMk cId="3687066805" sldId="2147483775"/>
              <pc:sldLayoutMk cId="2337798684" sldId="2147483889"/>
              <ac:spMk id="3" creationId="{68943357-E2E6-2896-C799-83C00669EFD5}"/>
            </ac:spMkLst>
          </pc:spChg>
        </pc:sldLayoutChg>
        <pc:sldLayoutChg chg="addSp modSp">
          <pc:chgData name="Hans Gelissen (DHL SSC Maastricht)" userId="1afa8510-4eed-4b73-a29e-678838cd8acd" providerId="ADAL" clId="{E6EBF5A5-CEC0-41D9-A58F-673413104E9E}" dt="2023-07-06T12:50:13.853" v="57"/>
          <pc:sldLayoutMkLst>
            <pc:docMk/>
            <pc:sldMasterMk cId="3687066805" sldId="2147483775"/>
            <pc:sldLayoutMk cId="2848435218" sldId="2147483947"/>
          </pc:sldLayoutMkLst>
          <pc:spChg chg="add mod">
            <ac:chgData name="Hans Gelissen (DHL SSC Maastricht)" userId="1afa8510-4eed-4b73-a29e-678838cd8acd" providerId="ADAL" clId="{E6EBF5A5-CEC0-41D9-A58F-673413104E9E}" dt="2023-07-06T12:50:13.853" v="57"/>
            <ac:spMkLst>
              <pc:docMk/>
              <pc:sldMasterMk cId="3687066805" sldId="2147483775"/>
              <pc:sldLayoutMk cId="2848435218" sldId="2147483947"/>
              <ac:spMk id="3" creationId="{7EB67BEF-5DBF-9F4F-FF62-FE6793EE2712}"/>
            </ac:spMkLst>
          </pc:spChg>
        </pc:sldLayoutChg>
        <pc:sldLayoutChg chg="addSp modSp">
          <pc:chgData name="Hans Gelissen (DHL SSC Maastricht)" userId="1afa8510-4eed-4b73-a29e-678838cd8acd" providerId="ADAL" clId="{E6EBF5A5-CEC0-41D9-A58F-673413104E9E}" dt="2023-07-06T12:50:14.203" v="58"/>
          <pc:sldLayoutMkLst>
            <pc:docMk/>
            <pc:sldMasterMk cId="3687066805" sldId="2147483775"/>
            <pc:sldLayoutMk cId="4171373829" sldId="2147483948"/>
          </pc:sldLayoutMkLst>
          <pc:spChg chg="add mod">
            <ac:chgData name="Hans Gelissen (DHL SSC Maastricht)" userId="1afa8510-4eed-4b73-a29e-678838cd8acd" providerId="ADAL" clId="{E6EBF5A5-CEC0-41D9-A58F-673413104E9E}" dt="2023-07-06T12:50:14.203" v="58"/>
            <ac:spMkLst>
              <pc:docMk/>
              <pc:sldMasterMk cId="3687066805" sldId="2147483775"/>
              <pc:sldLayoutMk cId="4171373829" sldId="2147483948"/>
              <ac:spMk id="3" creationId="{48208CFD-90F7-067C-C0DF-E2AEBF3C125D}"/>
            </ac:spMkLst>
          </pc:spChg>
        </pc:sldLayoutChg>
        <pc:sldLayoutChg chg="addSp modSp">
          <pc:chgData name="Hans Gelissen (DHL SSC Maastricht)" userId="1afa8510-4eed-4b73-a29e-678838cd8acd" providerId="ADAL" clId="{E6EBF5A5-CEC0-41D9-A58F-673413104E9E}" dt="2023-07-06T12:50:14.786" v="59"/>
          <pc:sldLayoutMkLst>
            <pc:docMk/>
            <pc:sldMasterMk cId="3687066805" sldId="2147483775"/>
            <pc:sldLayoutMk cId="705876065" sldId="2147483949"/>
          </pc:sldLayoutMkLst>
          <pc:spChg chg="add mod">
            <ac:chgData name="Hans Gelissen (DHL SSC Maastricht)" userId="1afa8510-4eed-4b73-a29e-678838cd8acd" providerId="ADAL" clId="{E6EBF5A5-CEC0-41D9-A58F-673413104E9E}" dt="2023-07-06T12:50:14.786" v="59"/>
            <ac:spMkLst>
              <pc:docMk/>
              <pc:sldMasterMk cId="3687066805" sldId="2147483775"/>
              <pc:sldLayoutMk cId="705876065" sldId="2147483949"/>
              <ac:spMk id="3" creationId="{3BEB0B79-CB78-C245-0F7B-511B2F2B795B}"/>
            </ac:spMkLst>
          </pc:spChg>
        </pc:sldLayoutChg>
        <pc:sldLayoutChg chg="addSp modSp">
          <pc:chgData name="Hans Gelissen (DHL SSC Maastricht)" userId="1afa8510-4eed-4b73-a29e-678838cd8acd" providerId="ADAL" clId="{E6EBF5A5-CEC0-41D9-A58F-673413104E9E}" dt="2023-07-06T12:50:15.337" v="60"/>
          <pc:sldLayoutMkLst>
            <pc:docMk/>
            <pc:sldMasterMk cId="3687066805" sldId="2147483775"/>
            <pc:sldLayoutMk cId="3404922169" sldId="2147483950"/>
          </pc:sldLayoutMkLst>
          <pc:spChg chg="add mod">
            <ac:chgData name="Hans Gelissen (DHL SSC Maastricht)" userId="1afa8510-4eed-4b73-a29e-678838cd8acd" providerId="ADAL" clId="{E6EBF5A5-CEC0-41D9-A58F-673413104E9E}" dt="2023-07-06T12:50:15.337" v="60"/>
            <ac:spMkLst>
              <pc:docMk/>
              <pc:sldMasterMk cId="3687066805" sldId="2147483775"/>
              <pc:sldLayoutMk cId="3404922169" sldId="2147483950"/>
              <ac:spMk id="3" creationId="{480E42A5-4BAA-30E0-3F80-7ECAD574F668}"/>
            </ac:spMkLst>
          </pc:spChg>
        </pc:sldLayoutChg>
        <pc:sldLayoutChg chg="addSp modSp">
          <pc:chgData name="Hans Gelissen (DHL SSC Maastricht)" userId="1afa8510-4eed-4b73-a29e-678838cd8acd" providerId="ADAL" clId="{E6EBF5A5-CEC0-41D9-A58F-673413104E9E}" dt="2023-07-06T12:50:15.803" v="61"/>
          <pc:sldLayoutMkLst>
            <pc:docMk/>
            <pc:sldMasterMk cId="3687066805" sldId="2147483775"/>
            <pc:sldLayoutMk cId="4065184156" sldId="2147483951"/>
          </pc:sldLayoutMkLst>
          <pc:spChg chg="add mod">
            <ac:chgData name="Hans Gelissen (DHL SSC Maastricht)" userId="1afa8510-4eed-4b73-a29e-678838cd8acd" providerId="ADAL" clId="{E6EBF5A5-CEC0-41D9-A58F-673413104E9E}" dt="2023-07-06T12:50:15.803" v="61"/>
            <ac:spMkLst>
              <pc:docMk/>
              <pc:sldMasterMk cId="3687066805" sldId="2147483775"/>
              <pc:sldLayoutMk cId="4065184156" sldId="2147483951"/>
              <ac:spMk id="3" creationId="{86DD8FC3-D107-12D9-F9B1-E543C7AFC992}"/>
            </ac:spMkLst>
          </pc:spChg>
        </pc:sldLayoutChg>
        <pc:sldLayoutChg chg="addSp modSp">
          <pc:chgData name="Hans Gelissen (DHL SSC Maastricht)" userId="1afa8510-4eed-4b73-a29e-678838cd8acd" providerId="ADAL" clId="{E6EBF5A5-CEC0-41D9-A58F-673413104E9E}" dt="2023-07-06T12:50:16.261" v="62"/>
          <pc:sldLayoutMkLst>
            <pc:docMk/>
            <pc:sldMasterMk cId="3687066805" sldId="2147483775"/>
            <pc:sldLayoutMk cId="3431884773" sldId="2147483952"/>
          </pc:sldLayoutMkLst>
          <pc:spChg chg="add mod">
            <ac:chgData name="Hans Gelissen (DHL SSC Maastricht)" userId="1afa8510-4eed-4b73-a29e-678838cd8acd" providerId="ADAL" clId="{E6EBF5A5-CEC0-41D9-A58F-673413104E9E}" dt="2023-07-06T12:50:16.261" v="62"/>
            <ac:spMkLst>
              <pc:docMk/>
              <pc:sldMasterMk cId="3687066805" sldId="2147483775"/>
              <pc:sldLayoutMk cId="3431884773" sldId="2147483952"/>
              <ac:spMk id="3" creationId="{A358016F-F2A7-2DA8-129E-D385249D13F6}"/>
            </ac:spMkLst>
          </pc:spChg>
        </pc:sldLayoutChg>
        <pc:sldLayoutChg chg="addSp modSp">
          <pc:chgData name="Hans Gelissen (DHL SSC Maastricht)" userId="1afa8510-4eed-4b73-a29e-678838cd8acd" providerId="ADAL" clId="{E6EBF5A5-CEC0-41D9-A58F-673413104E9E}" dt="2023-07-06T12:50:16.683" v="63"/>
          <pc:sldLayoutMkLst>
            <pc:docMk/>
            <pc:sldMasterMk cId="3687066805" sldId="2147483775"/>
            <pc:sldLayoutMk cId="3793421954" sldId="2147483953"/>
          </pc:sldLayoutMkLst>
          <pc:spChg chg="add mod">
            <ac:chgData name="Hans Gelissen (DHL SSC Maastricht)" userId="1afa8510-4eed-4b73-a29e-678838cd8acd" providerId="ADAL" clId="{E6EBF5A5-CEC0-41D9-A58F-673413104E9E}" dt="2023-07-06T12:50:16.683" v="63"/>
            <ac:spMkLst>
              <pc:docMk/>
              <pc:sldMasterMk cId="3687066805" sldId="2147483775"/>
              <pc:sldLayoutMk cId="3793421954" sldId="2147483953"/>
              <ac:spMk id="3" creationId="{78B95462-48AF-6BD7-DF82-AFD7EEFF1D46}"/>
            </ac:spMkLst>
          </pc:spChg>
        </pc:sldLayoutChg>
        <pc:sldLayoutChg chg="addSp modSp">
          <pc:chgData name="Hans Gelissen (DHL SSC Maastricht)" userId="1afa8510-4eed-4b73-a29e-678838cd8acd" providerId="ADAL" clId="{E6EBF5A5-CEC0-41D9-A58F-673413104E9E}" dt="2023-07-06T12:50:17.189" v="64"/>
          <pc:sldLayoutMkLst>
            <pc:docMk/>
            <pc:sldMasterMk cId="3687066805" sldId="2147483775"/>
            <pc:sldLayoutMk cId="3818604797" sldId="2147483954"/>
          </pc:sldLayoutMkLst>
          <pc:spChg chg="add mod">
            <ac:chgData name="Hans Gelissen (DHL SSC Maastricht)" userId="1afa8510-4eed-4b73-a29e-678838cd8acd" providerId="ADAL" clId="{E6EBF5A5-CEC0-41D9-A58F-673413104E9E}" dt="2023-07-06T12:50:17.189" v="64"/>
            <ac:spMkLst>
              <pc:docMk/>
              <pc:sldMasterMk cId="3687066805" sldId="2147483775"/>
              <pc:sldLayoutMk cId="3818604797" sldId="2147483954"/>
              <ac:spMk id="3" creationId="{98DE6CEF-18BC-1864-9037-993F977311E4}"/>
            </ac:spMkLst>
          </pc:spChg>
        </pc:sldLayoutChg>
      </pc:sldMasterChg>
      <pc:sldMasterChg chg="addSp modSp modSldLayout">
        <pc:chgData name="Hans Gelissen (DHL SSC Maastricht)" userId="1afa8510-4eed-4b73-a29e-678838cd8acd" providerId="ADAL" clId="{E6EBF5A5-CEC0-41D9-A58F-673413104E9E}" dt="2023-07-06T12:50:26.017" v="84"/>
        <pc:sldMasterMkLst>
          <pc:docMk/>
          <pc:sldMasterMk cId="3009645139" sldId="2147483782"/>
        </pc:sldMasterMkLst>
        <pc:spChg chg="add mod">
          <ac:chgData name="Hans Gelissen (DHL SSC Maastricht)" userId="1afa8510-4eed-4b73-a29e-678838cd8acd" providerId="ADAL" clId="{E6EBF5A5-CEC0-41D9-A58F-673413104E9E}" dt="2023-07-06T12:49:20.348" v="20"/>
          <ac:spMkLst>
            <pc:docMk/>
            <pc:sldMasterMk cId="3009645139" sldId="2147483782"/>
            <ac:spMk id="2" creationId="{7044B2C8-22C2-B7B1-EBE4-1E2EB84840D7}"/>
          </ac:spMkLst>
        </pc:spChg>
        <pc:sldLayoutChg chg="addSp modSp">
          <pc:chgData name="Hans Gelissen (DHL SSC Maastricht)" userId="1afa8510-4eed-4b73-a29e-678838cd8acd" providerId="ADAL" clId="{E6EBF5A5-CEC0-41D9-A58F-673413104E9E}" dt="2023-07-06T12:50:20.658" v="71"/>
          <pc:sldLayoutMkLst>
            <pc:docMk/>
            <pc:sldMasterMk cId="3009645139" sldId="2147483782"/>
            <pc:sldLayoutMk cId="648980338" sldId="2147483802"/>
          </pc:sldLayoutMkLst>
          <pc:spChg chg="add mod">
            <ac:chgData name="Hans Gelissen (DHL SSC Maastricht)" userId="1afa8510-4eed-4b73-a29e-678838cd8acd" providerId="ADAL" clId="{E6EBF5A5-CEC0-41D9-A58F-673413104E9E}" dt="2023-07-06T12:50:20.658" v="71"/>
            <ac:spMkLst>
              <pc:docMk/>
              <pc:sldMasterMk cId="3009645139" sldId="2147483782"/>
              <pc:sldLayoutMk cId="648980338" sldId="2147483802"/>
              <ac:spMk id="3" creationId="{9B93EAFD-57FC-9866-695A-2F01D0409F2F}"/>
            </ac:spMkLst>
          </pc:spChg>
        </pc:sldLayoutChg>
        <pc:sldLayoutChg chg="addSp modSp">
          <pc:chgData name="Hans Gelissen (DHL SSC Maastricht)" userId="1afa8510-4eed-4b73-a29e-678838cd8acd" providerId="ADAL" clId="{E6EBF5A5-CEC0-41D9-A58F-673413104E9E}" dt="2023-07-06T12:50:20.241" v="70"/>
          <pc:sldLayoutMkLst>
            <pc:docMk/>
            <pc:sldMasterMk cId="3009645139" sldId="2147483782"/>
            <pc:sldLayoutMk cId="2005618548" sldId="2147483803"/>
          </pc:sldLayoutMkLst>
          <pc:spChg chg="add mod">
            <ac:chgData name="Hans Gelissen (DHL SSC Maastricht)" userId="1afa8510-4eed-4b73-a29e-678838cd8acd" providerId="ADAL" clId="{E6EBF5A5-CEC0-41D9-A58F-673413104E9E}" dt="2023-07-06T12:50:20.241" v="70"/>
            <ac:spMkLst>
              <pc:docMk/>
              <pc:sldMasterMk cId="3009645139" sldId="2147483782"/>
              <pc:sldLayoutMk cId="2005618548" sldId="2147483803"/>
              <ac:spMk id="3" creationId="{30F81FFF-7D69-4832-1245-3BAF351FF38A}"/>
            </ac:spMkLst>
          </pc:spChg>
        </pc:sldLayoutChg>
        <pc:sldLayoutChg chg="addSp modSp">
          <pc:chgData name="Hans Gelissen (DHL SSC Maastricht)" userId="1afa8510-4eed-4b73-a29e-678838cd8acd" providerId="ADAL" clId="{E6EBF5A5-CEC0-41D9-A58F-673413104E9E}" dt="2023-07-06T12:50:26.017" v="84"/>
          <pc:sldLayoutMkLst>
            <pc:docMk/>
            <pc:sldMasterMk cId="3009645139" sldId="2147483782"/>
            <pc:sldLayoutMk cId="2141143529" sldId="2147483804"/>
          </pc:sldLayoutMkLst>
          <pc:spChg chg="add mod">
            <ac:chgData name="Hans Gelissen (DHL SSC Maastricht)" userId="1afa8510-4eed-4b73-a29e-678838cd8acd" providerId="ADAL" clId="{E6EBF5A5-CEC0-41D9-A58F-673413104E9E}" dt="2023-07-06T12:50:26.017" v="84"/>
            <ac:spMkLst>
              <pc:docMk/>
              <pc:sldMasterMk cId="3009645139" sldId="2147483782"/>
              <pc:sldLayoutMk cId="2141143529" sldId="2147483804"/>
              <ac:spMk id="3" creationId="{19CE1F0A-DEE3-0702-E2C0-0392B11D54C7}"/>
            </ac:spMkLst>
          </pc:spChg>
        </pc:sldLayoutChg>
        <pc:sldLayoutChg chg="addSp modSp">
          <pc:chgData name="Hans Gelissen (DHL SSC Maastricht)" userId="1afa8510-4eed-4b73-a29e-678838cd8acd" providerId="ADAL" clId="{E6EBF5A5-CEC0-41D9-A58F-673413104E9E}" dt="2023-07-06T12:50:19.538" v="68"/>
          <pc:sldLayoutMkLst>
            <pc:docMk/>
            <pc:sldMasterMk cId="3009645139" sldId="2147483782"/>
            <pc:sldLayoutMk cId="2696944745" sldId="2147483840"/>
          </pc:sldLayoutMkLst>
          <pc:spChg chg="add mod">
            <ac:chgData name="Hans Gelissen (DHL SSC Maastricht)" userId="1afa8510-4eed-4b73-a29e-678838cd8acd" providerId="ADAL" clId="{E6EBF5A5-CEC0-41D9-A58F-673413104E9E}" dt="2023-07-06T12:50:19.538" v="68"/>
            <ac:spMkLst>
              <pc:docMk/>
              <pc:sldMasterMk cId="3009645139" sldId="2147483782"/>
              <pc:sldLayoutMk cId="2696944745" sldId="2147483840"/>
              <ac:spMk id="3" creationId="{D6725C80-854D-DB53-EF90-DB113897B81C}"/>
            </ac:spMkLst>
          </pc:spChg>
        </pc:sldLayoutChg>
        <pc:sldLayoutChg chg="addSp modSp">
          <pc:chgData name="Hans Gelissen (DHL SSC Maastricht)" userId="1afa8510-4eed-4b73-a29e-678838cd8acd" providerId="ADAL" clId="{E6EBF5A5-CEC0-41D9-A58F-673413104E9E}" dt="2023-07-06T12:50:18.940" v="66"/>
          <pc:sldLayoutMkLst>
            <pc:docMk/>
            <pc:sldMasterMk cId="3009645139" sldId="2147483782"/>
            <pc:sldLayoutMk cId="4274500592" sldId="2147483841"/>
          </pc:sldLayoutMkLst>
          <pc:spChg chg="add mod">
            <ac:chgData name="Hans Gelissen (DHL SSC Maastricht)" userId="1afa8510-4eed-4b73-a29e-678838cd8acd" providerId="ADAL" clId="{E6EBF5A5-CEC0-41D9-A58F-673413104E9E}" dt="2023-07-06T12:50:18.940" v="66"/>
            <ac:spMkLst>
              <pc:docMk/>
              <pc:sldMasterMk cId="3009645139" sldId="2147483782"/>
              <pc:sldLayoutMk cId="4274500592" sldId="2147483841"/>
              <ac:spMk id="3" creationId="{19B8CAA6-3ACD-EF56-5883-51747A0EB1AB}"/>
            </ac:spMkLst>
          </pc:spChg>
        </pc:sldLayoutChg>
        <pc:sldLayoutChg chg="addSp modSp">
          <pc:chgData name="Hans Gelissen (DHL SSC Maastricht)" userId="1afa8510-4eed-4b73-a29e-678838cd8acd" providerId="ADAL" clId="{E6EBF5A5-CEC0-41D9-A58F-673413104E9E}" dt="2023-07-06T12:50:19.154" v="67"/>
          <pc:sldLayoutMkLst>
            <pc:docMk/>
            <pc:sldMasterMk cId="3009645139" sldId="2147483782"/>
            <pc:sldLayoutMk cId="695310547" sldId="2147483842"/>
          </pc:sldLayoutMkLst>
          <pc:spChg chg="add mod">
            <ac:chgData name="Hans Gelissen (DHL SSC Maastricht)" userId="1afa8510-4eed-4b73-a29e-678838cd8acd" providerId="ADAL" clId="{E6EBF5A5-CEC0-41D9-A58F-673413104E9E}" dt="2023-07-06T12:50:19.154" v="67"/>
            <ac:spMkLst>
              <pc:docMk/>
              <pc:sldMasterMk cId="3009645139" sldId="2147483782"/>
              <pc:sldLayoutMk cId="695310547" sldId="2147483842"/>
              <ac:spMk id="3" creationId="{F88B453D-8025-A4E6-23F3-0F27370E8305}"/>
            </ac:spMkLst>
          </pc:spChg>
        </pc:sldLayoutChg>
        <pc:sldLayoutChg chg="addSp modSp">
          <pc:chgData name="Hans Gelissen (DHL SSC Maastricht)" userId="1afa8510-4eed-4b73-a29e-678838cd8acd" providerId="ADAL" clId="{E6EBF5A5-CEC0-41D9-A58F-673413104E9E}" dt="2023-07-06T12:50:19.869" v="69"/>
          <pc:sldLayoutMkLst>
            <pc:docMk/>
            <pc:sldMasterMk cId="3009645139" sldId="2147483782"/>
            <pc:sldLayoutMk cId="604909523" sldId="2147483843"/>
          </pc:sldLayoutMkLst>
          <pc:spChg chg="add mod">
            <ac:chgData name="Hans Gelissen (DHL SSC Maastricht)" userId="1afa8510-4eed-4b73-a29e-678838cd8acd" providerId="ADAL" clId="{E6EBF5A5-CEC0-41D9-A58F-673413104E9E}" dt="2023-07-06T12:50:19.869" v="69"/>
            <ac:spMkLst>
              <pc:docMk/>
              <pc:sldMasterMk cId="3009645139" sldId="2147483782"/>
              <pc:sldLayoutMk cId="604909523" sldId="2147483843"/>
              <ac:spMk id="3" creationId="{EA00B6DB-7826-7521-947C-EB764D77D453}"/>
            </ac:spMkLst>
          </pc:spChg>
        </pc:sldLayoutChg>
        <pc:sldLayoutChg chg="addSp modSp">
          <pc:chgData name="Hans Gelissen (DHL SSC Maastricht)" userId="1afa8510-4eed-4b73-a29e-678838cd8acd" providerId="ADAL" clId="{E6EBF5A5-CEC0-41D9-A58F-673413104E9E}" dt="2023-07-06T12:50:21.021" v="72"/>
          <pc:sldLayoutMkLst>
            <pc:docMk/>
            <pc:sldMasterMk cId="3009645139" sldId="2147483782"/>
            <pc:sldLayoutMk cId="1433277352" sldId="2147483895"/>
          </pc:sldLayoutMkLst>
          <pc:spChg chg="add mod">
            <ac:chgData name="Hans Gelissen (DHL SSC Maastricht)" userId="1afa8510-4eed-4b73-a29e-678838cd8acd" providerId="ADAL" clId="{E6EBF5A5-CEC0-41D9-A58F-673413104E9E}" dt="2023-07-06T12:50:21.021" v="72"/>
            <ac:spMkLst>
              <pc:docMk/>
              <pc:sldMasterMk cId="3009645139" sldId="2147483782"/>
              <pc:sldLayoutMk cId="1433277352" sldId="2147483895"/>
              <ac:spMk id="3" creationId="{716F18D2-0015-4B5B-52CC-6E26D5E7C489}"/>
            </ac:spMkLst>
          </pc:spChg>
        </pc:sldLayoutChg>
        <pc:sldLayoutChg chg="addSp modSp">
          <pc:chgData name="Hans Gelissen (DHL SSC Maastricht)" userId="1afa8510-4eed-4b73-a29e-678838cd8acd" providerId="ADAL" clId="{E6EBF5A5-CEC0-41D9-A58F-673413104E9E}" dt="2023-07-06T12:50:21.411" v="73"/>
          <pc:sldLayoutMkLst>
            <pc:docMk/>
            <pc:sldMasterMk cId="3009645139" sldId="2147483782"/>
            <pc:sldLayoutMk cId="2068679615" sldId="2147483896"/>
          </pc:sldLayoutMkLst>
          <pc:spChg chg="add mod">
            <ac:chgData name="Hans Gelissen (DHL SSC Maastricht)" userId="1afa8510-4eed-4b73-a29e-678838cd8acd" providerId="ADAL" clId="{E6EBF5A5-CEC0-41D9-A58F-673413104E9E}" dt="2023-07-06T12:50:21.411" v="73"/>
            <ac:spMkLst>
              <pc:docMk/>
              <pc:sldMasterMk cId="3009645139" sldId="2147483782"/>
              <pc:sldLayoutMk cId="2068679615" sldId="2147483896"/>
              <ac:spMk id="3" creationId="{438AFC1B-89C7-1285-4569-4EA071B855C2}"/>
            </ac:spMkLst>
          </pc:spChg>
        </pc:sldLayoutChg>
        <pc:sldLayoutChg chg="addSp modSp">
          <pc:chgData name="Hans Gelissen (DHL SSC Maastricht)" userId="1afa8510-4eed-4b73-a29e-678838cd8acd" providerId="ADAL" clId="{E6EBF5A5-CEC0-41D9-A58F-673413104E9E}" dt="2023-07-06T12:50:21.775" v="74"/>
          <pc:sldLayoutMkLst>
            <pc:docMk/>
            <pc:sldMasterMk cId="3009645139" sldId="2147483782"/>
            <pc:sldLayoutMk cId="3666955133" sldId="2147483897"/>
          </pc:sldLayoutMkLst>
          <pc:spChg chg="add mod">
            <ac:chgData name="Hans Gelissen (DHL SSC Maastricht)" userId="1afa8510-4eed-4b73-a29e-678838cd8acd" providerId="ADAL" clId="{E6EBF5A5-CEC0-41D9-A58F-673413104E9E}" dt="2023-07-06T12:50:21.775" v="74"/>
            <ac:spMkLst>
              <pc:docMk/>
              <pc:sldMasterMk cId="3009645139" sldId="2147483782"/>
              <pc:sldLayoutMk cId="3666955133" sldId="2147483897"/>
              <ac:spMk id="3" creationId="{14396999-E0A0-2AD4-1FCB-F2700B47D88E}"/>
            </ac:spMkLst>
          </pc:spChg>
        </pc:sldLayoutChg>
        <pc:sldLayoutChg chg="addSp modSp">
          <pc:chgData name="Hans Gelissen (DHL SSC Maastricht)" userId="1afa8510-4eed-4b73-a29e-678838cd8acd" providerId="ADAL" clId="{E6EBF5A5-CEC0-41D9-A58F-673413104E9E}" dt="2023-07-06T12:50:22.130" v="75"/>
          <pc:sldLayoutMkLst>
            <pc:docMk/>
            <pc:sldMasterMk cId="3009645139" sldId="2147483782"/>
            <pc:sldLayoutMk cId="1897181201" sldId="2147483898"/>
          </pc:sldLayoutMkLst>
          <pc:spChg chg="add mod">
            <ac:chgData name="Hans Gelissen (DHL SSC Maastricht)" userId="1afa8510-4eed-4b73-a29e-678838cd8acd" providerId="ADAL" clId="{E6EBF5A5-CEC0-41D9-A58F-673413104E9E}" dt="2023-07-06T12:50:22.130" v="75"/>
            <ac:spMkLst>
              <pc:docMk/>
              <pc:sldMasterMk cId="3009645139" sldId="2147483782"/>
              <pc:sldLayoutMk cId="1897181201" sldId="2147483898"/>
              <ac:spMk id="3" creationId="{3426099F-1E1D-1A00-95AF-6D2A9BC6616D}"/>
            </ac:spMkLst>
          </pc:spChg>
        </pc:sldLayoutChg>
        <pc:sldLayoutChg chg="addSp modSp">
          <pc:chgData name="Hans Gelissen (DHL SSC Maastricht)" userId="1afa8510-4eed-4b73-a29e-678838cd8acd" providerId="ADAL" clId="{E6EBF5A5-CEC0-41D9-A58F-673413104E9E}" dt="2023-07-06T12:50:22.642" v="76"/>
          <pc:sldLayoutMkLst>
            <pc:docMk/>
            <pc:sldMasterMk cId="3009645139" sldId="2147483782"/>
            <pc:sldLayoutMk cId="262418530" sldId="2147483955"/>
          </pc:sldLayoutMkLst>
          <pc:spChg chg="add mod">
            <ac:chgData name="Hans Gelissen (DHL SSC Maastricht)" userId="1afa8510-4eed-4b73-a29e-678838cd8acd" providerId="ADAL" clId="{E6EBF5A5-CEC0-41D9-A58F-673413104E9E}" dt="2023-07-06T12:50:22.642" v="76"/>
            <ac:spMkLst>
              <pc:docMk/>
              <pc:sldMasterMk cId="3009645139" sldId="2147483782"/>
              <pc:sldLayoutMk cId="262418530" sldId="2147483955"/>
              <ac:spMk id="3" creationId="{FCA49838-B33F-BB41-0E57-21937FC28CB1}"/>
            </ac:spMkLst>
          </pc:spChg>
        </pc:sldLayoutChg>
        <pc:sldLayoutChg chg="addSp modSp">
          <pc:chgData name="Hans Gelissen (DHL SSC Maastricht)" userId="1afa8510-4eed-4b73-a29e-678838cd8acd" providerId="ADAL" clId="{E6EBF5A5-CEC0-41D9-A58F-673413104E9E}" dt="2023-07-06T12:50:23.128" v="77"/>
          <pc:sldLayoutMkLst>
            <pc:docMk/>
            <pc:sldMasterMk cId="3009645139" sldId="2147483782"/>
            <pc:sldLayoutMk cId="2338710343" sldId="2147483956"/>
          </pc:sldLayoutMkLst>
          <pc:spChg chg="add mod">
            <ac:chgData name="Hans Gelissen (DHL SSC Maastricht)" userId="1afa8510-4eed-4b73-a29e-678838cd8acd" providerId="ADAL" clId="{E6EBF5A5-CEC0-41D9-A58F-673413104E9E}" dt="2023-07-06T12:50:23.128" v="77"/>
            <ac:spMkLst>
              <pc:docMk/>
              <pc:sldMasterMk cId="3009645139" sldId="2147483782"/>
              <pc:sldLayoutMk cId="2338710343" sldId="2147483956"/>
              <ac:spMk id="3" creationId="{0019A549-5CD5-9A2D-5A82-EA96E0EE647E}"/>
            </ac:spMkLst>
          </pc:spChg>
        </pc:sldLayoutChg>
        <pc:sldLayoutChg chg="addSp modSp">
          <pc:chgData name="Hans Gelissen (DHL SSC Maastricht)" userId="1afa8510-4eed-4b73-a29e-678838cd8acd" providerId="ADAL" clId="{E6EBF5A5-CEC0-41D9-A58F-673413104E9E}" dt="2023-07-06T12:50:23.517" v="78"/>
          <pc:sldLayoutMkLst>
            <pc:docMk/>
            <pc:sldMasterMk cId="3009645139" sldId="2147483782"/>
            <pc:sldLayoutMk cId="385823197" sldId="2147483957"/>
          </pc:sldLayoutMkLst>
          <pc:spChg chg="add mod">
            <ac:chgData name="Hans Gelissen (DHL SSC Maastricht)" userId="1afa8510-4eed-4b73-a29e-678838cd8acd" providerId="ADAL" clId="{E6EBF5A5-CEC0-41D9-A58F-673413104E9E}" dt="2023-07-06T12:50:23.517" v="78"/>
            <ac:spMkLst>
              <pc:docMk/>
              <pc:sldMasterMk cId="3009645139" sldId="2147483782"/>
              <pc:sldLayoutMk cId="385823197" sldId="2147483957"/>
              <ac:spMk id="3" creationId="{2D513B1E-4CE7-DFB1-B13C-BB1FB5EE5A39}"/>
            </ac:spMkLst>
          </pc:spChg>
        </pc:sldLayoutChg>
        <pc:sldLayoutChg chg="addSp modSp">
          <pc:chgData name="Hans Gelissen (DHL SSC Maastricht)" userId="1afa8510-4eed-4b73-a29e-678838cd8acd" providerId="ADAL" clId="{E6EBF5A5-CEC0-41D9-A58F-673413104E9E}" dt="2023-07-06T12:50:23.964" v="79"/>
          <pc:sldLayoutMkLst>
            <pc:docMk/>
            <pc:sldMasterMk cId="3009645139" sldId="2147483782"/>
            <pc:sldLayoutMk cId="3246149922" sldId="2147483958"/>
          </pc:sldLayoutMkLst>
          <pc:spChg chg="add mod">
            <ac:chgData name="Hans Gelissen (DHL SSC Maastricht)" userId="1afa8510-4eed-4b73-a29e-678838cd8acd" providerId="ADAL" clId="{E6EBF5A5-CEC0-41D9-A58F-673413104E9E}" dt="2023-07-06T12:50:23.964" v="79"/>
            <ac:spMkLst>
              <pc:docMk/>
              <pc:sldMasterMk cId="3009645139" sldId="2147483782"/>
              <pc:sldLayoutMk cId="3246149922" sldId="2147483958"/>
              <ac:spMk id="3" creationId="{FC272195-683A-8068-B1E7-459C55692B55}"/>
            </ac:spMkLst>
          </pc:spChg>
        </pc:sldLayoutChg>
        <pc:sldLayoutChg chg="addSp modSp">
          <pc:chgData name="Hans Gelissen (DHL SSC Maastricht)" userId="1afa8510-4eed-4b73-a29e-678838cd8acd" providerId="ADAL" clId="{E6EBF5A5-CEC0-41D9-A58F-673413104E9E}" dt="2023-07-06T12:50:24.391" v="80"/>
          <pc:sldLayoutMkLst>
            <pc:docMk/>
            <pc:sldMasterMk cId="3009645139" sldId="2147483782"/>
            <pc:sldLayoutMk cId="3261208622" sldId="2147483959"/>
          </pc:sldLayoutMkLst>
          <pc:spChg chg="add mod">
            <ac:chgData name="Hans Gelissen (DHL SSC Maastricht)" userId="1afa8510-4eed-4b73-a29e-678838cd8acd" providerId="ADAL" clId="{E6EBF5A5-CEC0-41D9-A58F-673413104E9E}" dt="2023-07-06T12:50:24.391" v="80"/>
            <ac:spMkLst>
              <pc:docMk/>
              <pc:sldMasterMk cId="3009645139" sldId="2147483782"/>
              <pc:sldLayoutMk cId="3261208622" sldId="2147483959"/>
              <ac:spMk id="3" creationId="{89B77EF7-CC67-553D-D8ED-BC1CF5332492}"/>
            </ac:spMkLst>
          </pc:spChg>
        </pc:sldLayoutChg>
        <pc:sldLayoutChg chg="addSp modSp">
          <pc:chgData name="Hans Gelissen (DHL SSC Maastricht)" userId="1afa8510-4eed-4b73-a29e-678838cd8acd" providerId="ADAL" clId="{E6EBF5A5-CEC0-41D9-A58F-673413104E9E}" dt="2023-07-06T12:50:24.841" v="81"/>
          <pc:sldLayoutMkLst>
            <pc:docMk/>
            <pc:sldMasterMk cId="3009645139" sldId="2147483782"/>
            <pc:sldLayoutMk cId="271718921" sldId="2147483960"/>
          </pc:sldLayoutMkLst>
          <pc:spChg chg="add mod">
            <ac:chgData name="Hans Gelissen (DHL SSC Maastricht)" userId="1afa8510-4eed-4b73-a29e-678838cd8acd" providerId="ADAL" clId="{E6EBF5A5-CEC0-41D9-A58F-673413104E9E}" dt="2023-07-06T12:50:24.841" v="81"/>
            <ac:spMkLst>
              <pc:docMk/>
              <pc:sldMasterMk cId="3009645139" sldId="2147483782"/>
              <pc:sldLayoutMk cId="271718921" sldId="2147483960"/>
              <ac:spMk id="3" creationId="{9097D2F5-3386-E0F7-A8F0-5CEEAE5F09D3}"/>
            </ac:spMkLst>
          </pc:spChg>
        </pc:sldLayoutChg>
        <pc:sldLayoutChg chg="addSp modSp">
          <pc:chgData name="Hans Gelissen (DHL SSC Maastricht)" userId="1afa8510-4eed-4b73-a29e-678838cd8acd" providerId="ADAL" clId="{E6EBF5A5-CEC0-41D9-A58F-673413104E9E}" dt="2023-07-06T12:50:25.214" v="82"/>
          <pc:sldLayoutMkLst>
            <pc:docMk/>
            <pc:sldMasterMk cId="3009645139" sldId="2147483782"/>
            <pc:sldLayoutMk cId="373419110" sldId="2147483961"/>
          </pc:sldLayoutMkLst>
          <pc:spChg chg="add mod">
            <ac:chgData name="Hans Gelissen (DHL SSC Maastricht)" userId="1afa8510-4eed-4b73-a29e-678838cd8acd" providerId="ADAL" clId="{E6EBF5A5-CEC0-41D9-A58F-673413104E9E}" dt="2023-07-06T12:50:25.214" v="82"/>
            <ac:spMkLst>
              <pc:docMk/>
              <pc:sldMasterMk cId="3009645139" sldId="2147483782"/>
              <pc:sldLayoutMk cId="373419110" sldId="2147483961"/>
              <ac:spMk id="3" creationId="{1FA77C09-DB66-0BF4-3A0A-0598F1D762EB}"/>
            </ac:spMkLst>
          </pc:spChg>
        </pc:sldLayoutChg>
        <pc:sldLayoutChg chg="addSp modSp">
          <pc:chgData name="Hans Gelissen (DHL SSC Maastricht)" userId="1afa8510-4eed-4b73-a29e-678838cd8acd" providerId="ADAL" clId="{E6EBF5A5-CEC0-41D9-A58F-673413104E9E}" dt="2023-07-06T12:50:25.630" v="83"/>
          <pc:sldLayoutMkLst>
            <pc:docMk/>
            <pc:sldMasterMk cId="3009645139" sldId="2147483782"/>
            <pc:sldLayoutMk cId="413288453" sldId="2147483962"/>
          </pc:sldLayoutMkLst>
          <pc:spChg chg="add mod">
            <ac:chgData name="Hans Gelissen (DHL SSC Maastricht)" userId="1afa8510-4eed-4b73-a29e-678838cd8acd" providerId="ADAL" clId="{E6EBF5A5-CEC0-41D9-A58F-673413104E9E}" dt="2023-07-06T12:50:25.630" v="83"/>
            <ac:spMkLst>
              <pc:docMk/>
              <pc:sldMasterMk cId="3009645139" sldId="2147483782"/>
              <pc:sldLayoutMk cId="413288453" sldId="2147483962"/>
              <ac:spMk id="3" creationId="{50F5E09B-5155-4DBA-8905-E197A84BD3D2}"/>
            </ac:spMkLst>
          </pc:spChg>
        </pc:sldLayoutChg>
      </pc:sldMasterChg>
      <pc:sldMasterChg chg="addSp modSp modSldLayout">
        <pc:chgData name="Hans Gelissen (DHL SSC Maastricht)" userId="1afa8510-4eed-4b73-a29e-678838cd8acd" providerId="ADAL" clId="{E6EBF5A5-CEC0-41D9-A58F-673413104E9E}" dt="2023-07-06T12:50:42.069" v="122"/>
        <pc:sldMasterMkLst>
          <pc:docMk/>
          <pc:sldMasterMk cId="1560827226" sldId="2147483789"/>
        </pc:sldMasterMkLst>
        <pc:spChg chg="add mod">
          <ac:chgData name="Hans Gelissen (DHL SSC Maastricht)" userId="1afa8510-4eed-4b73-a29e-678838cd8acd" providerId="ADAL" clId="{E6EBF5A5-CEC0-41D9-A58F-673413104E9E}" dt="2023-07-06T12:49:27.217" v="22"/>
          <ac:spMkLst>
            <pc:docMk/>
            <pc:sldMasterMk cId="1560827226" sldId="2147483789"/>
            <ac:spMk id="2" creationId="{AA884D24-E244-DD1B-B41D-6CCABA562D61}"/>
          </ac:spMkLst>
        </pc:spChg>
        <pc:sldLayoutChg chg="addSp modSp">
          <pc:chgData name="Hans Gelissen (DHL SSC Maastricht)" userId="1afa8510-4eed-4b73-a29e-678838cd8acd" providerId="ADAL" clId="{E6EBF5A5-CEC0-41D9-A58F-673413104E9E}" dt="2023-07-06T12:50:35.203" v="104"/>
          <pc:sldLayoutMkLst>
            <pc:docMk/>
            <pc:sldMasterMk cId="1560827226" sldId="2147483789"/>
            <pc:sldLayoutMk cId="3112511369" sldId="2147483808"/>
          </pc:sldLayoutMkLst>
          <pc:spChg chg="add mod">
            <ac:chgData name="Hans Gelissen (DHL SSC Maastricht)" userId="1afa8510-4eed-4b73-a29e-678838cd8acd" providerId="ADAL" clId="{E6EBF5A5-CEC0-41D9-A58F-673413104E9E}" dt="2023-07-06T12:50:35.203" v="104"/>
            <ac:spMkLst>
              <pc:docMk/>
              <pc:sldMasterMk cId="1560827226" sldId="2147483789"/>
              <pc:sldLayoutMk cId="3112511369" sldId="2147483808"/>
              <ac:spMk id="3" creationId="{C0E697B4-EA8F-5DDA-A4D3-A4677098D48D}"/>
            </ac:spMkLst>
          </pc:spChg>
        </pc:sldLayoutChg>
        <pc:sldLayoutChg chg="addSp modSp">
          <pc:chgData name="Hans Gelissen (DHL SSC Maastricht)" userId="1afa8510-4eed-4b73-a29e-678838cd8acd" providerId="ADAL" clId="{E6EBF5A5-CEC0-41D9-A58F-673413104E9E}" dt="2023-07-06T12:50:35.562" v="105"/>
          <pc:sldLayoutMkLst>
            <pc:docMk/>
            <pc:sldMasterMk cId="1560827226" sldId="2147483789"/>
            <pc:sldLayoutMk cId="2973508890" sldId="2147483809"/>
          </pc:sldLayoutMkLst>
          <pc:spChg chg="add mod">
            <ac:chgData name="Hans Gelissen (DHL SSC Maastricht)" userId="1afa8510-4eed-4b73-a29e-678838cd8acd" providerId="ADAL" clId="{E6EBF5A5-CEC0-41D9-A58F-673413104E9E}" dt="2023-07-06T12:50:35.562" v="105"/>
            <ac:spMkLst>
              <pc:docMk/>
              <pc:sldMasterMk cId="1560827226" sldId="2147483789"/>
              <pc:sldLayoutMk cId="2973508890" sldId="2147483809"/>
              <ac:spMk id="3" creationId="{3D61CF9E-210C-8B20-D126-D52973C9E18C}"/>
            </ac:spMkLst>
          </pc:spChg>
        </pc:sldLayoutChg>
        <pc:sldLayoutChg chg="addSp modSp">
          <pc:chgData name="Hans Gelissen (DHL SSC Maastricht)" userId="1afa8510-4eed-4b73-a29e-678838cd8acd" providerId="ADAL" clId="{E6EBF5A5-CEC0-41D9-A58F-673413104E9E}" dt="2023-07-06T12:50:42.069" v="122"/>
          <pc:sldLayoutMkLst>
            <pc:docMk/>
            <pc:sldMasterMk cId="1560827226" sldId="2147483789"/>
            <pc:sldLayoutMk cId="1933999975" sldId="2147483810"/>
          </pc:sldLayoutMkLst>
          <pc:spChg chg="add mod">
            <ac:chgData name="Hans Gelissen (DHL SSC Maastricht)" userId="1afa8510-4eed-4b73-a29e-678838cd8acd" providerId="ADAL" clId="{E6EBF5A5-CEC0-41D9-A58F-673413104E9E}" dt="2023-07-06T12:50:42.069" v="122"/>
            <ac:spMkLst>
              <pc:docMk/>
              <pc:sldMasterMk cId="1560827226" sldId="2147483789"/>
              <pc:sldLayoutMk cId="1933999975" sldId="2147483810"/>
              <ac:spMk id="3" creationId="{69EB5383-70C1-7351-9EA5-BBBC7720F393}"/>
            </ac:spMkLst>
          </pc:spChg>
        </pc:sldLayoutChg>
        <pc:sldLayoutChg chg="addSp modSp">
          <pc:chgData name="Hans Gelissen (DHL SSC Maastricht)" userId="1afa8510-4eed-4b73-a29e-678838cd8acd" providerId="ADAL" clId="{E6EBF5A5-CEC0-41D9-A58F-673413104E9E}" dt="2023-07-06T12:50:36.302" v="107"/>
          <pc:sldLayoutMkLst>
            <pc:docMk/>
            <pc:sldMasterMk cId="1560827226" sldId="2147483789"/>
            <pc:sldLayoutMk cId="744637158" sldId="2147483853"/>
          </pc:sldLayoutMkLst>
          <pc:spChg chg="add mod">
            <ac:chgData name="Hans Gelissen (DHL SSC Maastricht)" userId="1afa8510-4eed-4b73-a29e-678838cd8acd" providerId="ADAL" clId="{E6EBF5A5-CEC0-41D9-A58F-673413104E9E}" dt="2023-07-06T12:50:36.302" v="107"/>
            <ac:spMkLst>
              <pc:docMk/>
              <pc:sldMasterMk cId="1560827226" sldId="2147483789"/>
              <pc:sldLayoutMk cId="744637158" sldId="2147483853"/>
              <ac:spMk id="3" creationId="{6A2B2CA9-3FE0-2379-9750-0E65B1DB9CAF}"/>
            </ac:spMkLst>
          </pc:spChg>
        </pc:sldLayoutChg>
        <pc:sldLayoutChg chg="addSp modSp">
          <pc:chgData name="Hans Gelissen (DHL SSC Maastricht)" userId="1afa8510-4eed-4b73-a29e-678838cd8acd" providerId="ADAL" clId="{E6EBF5A5-CEC0-41D9-A58F-673413104E9E}" dt="2023-07-06T12:50:36.686" v="108"/>
          <pc:sldLayoutMkLst>
            <pc:docMk/>
            <pc:sldMasterMk cId="1560827226" sldId="2147483789"/>
            <pc:sldLayoutMk cId="912269737" sldId="2147483854"/>
          </pc:sldLayoutMkLst>
          <pc:spChg chg="add mod">
            <ac:chgData name="Hans Gelissen (DHL SSC Maastricht)" userId="1afa8510-4eed-4b73-a29e-678838cd8acd" providerId="ADAL" clId="{E6EBF5A5-CEC0-41D9-A58F-673413104E9E}" dt="2023-07-06T12:50:36.686" v="108"/>
            <ac:spMkLst>
              <pc:docMk/>
              <pc:sldMasterMk cId="1560827226" sldId="2147483789"/>
              <pc:sldLayoutMk cId="912269737" sldId="2147483854"/>
              <ac:spMk id="3" creationId="{0B23E7F9-DFA6-583D-F6A9-49EB3DDACA58}"/>
            </ac:spMkLst>
          </pc:spChg>
        </pc:sldLayoutChg>
        <pc:sldLayoutChg chg="addSp modSp">
          <pc:chgData name="Hans Gelissen (DHL SSC Maastricht)" userId="1afa8510-4eed-4b73-a29e-678838cd8acd" providerId="ADAL" clId="{E6EBF5A5-CEC0-41D9-A58F-673413104E9E}" dt="2023-07-06T12:50:37.042" v="109"/>
          <pc:sldLayoutMkLst>
            <pc:docMk/>
            <pc:sldMasterMk cId="1560827226" sldId="2147483789"/>
            <pc:sldLayoutMk cId="3259315673" sldId="2147483855"/>
          </pc:sldLayoutMkLst>
          <pc:spChg chg="add mod">
            <ac:chgData name="Hans Gelissen (DHL SSC Maastricht)" userId="1afa8510-4eed-4b73-a29e-678838cd8acd" providerId="ADAL" clId="{E6EBF5A5-CEC0-41D9-A58F-673413104E9E}" dt="2023-07-06T12:50:37.042" v="109"/>
            <ac:spMkLst>
              <pc:docMk/>
              <pc:sldMasterMk cId="1560827226" sldId="2147483789"/>
              <pc:sldLayoutMk cId="3259315673" sldId="2147483855"/>
              <ac:spMk id="3" creationId="{21B03378-4615-2964-F814-558142C60CD5}"/>
            </ac:spMkLst>
          </pc:spChg>
        </pc:sldLayoutChg>
        <pc:sldLayoutChg chg="addSp modSp">
          <pc:chgData name="Hans Gelissen (DHL SSC Maastricht)" userId="1afa8510-4eed-4b73-a29e-678838cd8acd" providerId="ADAL" clId="{E6EBF5A5-CEC0-41D9-A58F-673413104E9E}" dt="2023-07-06T12:50:35.923" v="106"/>
          <pc:sldLayoutMkLst>
            <pc:docMk/>
            <pc:sldMasterMk cId="1560827226" sldId="2147483789"/>
            <pc:sldLayoutMk cId="133451210" sldId="2147483856"/>
          </pc:sldLayoutMkLst>
          <pc:spChg chg="add mod">
            <ac:chgData name="Hans Gelissen (DHL SSC Maastricht)" userId="1afa8510-4eed-4b73-a29e-678838cd8acd" providerId="ADAL" clId="{E6EBF5A5-CEC0-41D9-A58F-673413104E9E}" dt="2023-07-06T12:50:35.923" v="106"/>
            <ac:spMkLst>
              <pc:docMk/>
              <pc:sldMasterMk cId="1560827226" sldId="2147483789"/>
              <pc:sldLayoutMk cId="133451210" sldId="2147483856"/>
              <ac:spMk id="3" creationId="{5BA2BE26-86A4-B843-DF3A-F7627445C1B9}"/>
            </ac:spMkLst>
          </pc:spChg>
        </pc:sldLayoutChg>
        <pc:sldLayoutChg chg="addSp modSp">
          <pc:chgData name="Hans Gelissen (DHL SSC Maastricht)" userId="1afa8510-4eed-4b73-a29e-678838cd8acd" providerId="ADAL" clId="{E6EBF5A5-CEC0-41D9-A58F-673413104E9E}" dt="2023-07-06T12:50:37.423" v="110"/>
          <pc:sldLayoutMkLst>
            <pc:docMk/>
            <pc:sldMasterMk cId="1560827226" sldId="2147483789"/>
            <pc:sldLayoutMk cId="2456586523" sldId="2147483905"/>
          </pc:sldLayoutMkLst>
          <pc:spChg chg="add mod">
            <ac:chgData name="Hans Gelissen (DHL SSC Maastricht)" userId="1afa8510-4eed-4b73-a29e-678838cd8acd" providerId="ADAL" clId="{E6EBF5A5-CEC0-41D9-A58F-673413104E9E}" dt="2023-07-06T12:50:37.423" v="110"/>
            <ac:spMkLst>
              <pc:docMk/>
              <pc:sldMasterMk cId="1560827226" sldId="2147483789"/>
              <pc:sldLayoutMk cId="2456586523" sldId="2147483905"/>
              <ac:spMk id="3" creationId="{EA4AE7E5-F5C8-7988-F9AC-06063E3E835C}"/>
            </ac:spMkLst>
          </pc:spChg>
        </pc:sldLayoutChg>
        <pc:sldLayoutChg chg="addSp modSp">
          <pc:chgData name="Hans Gelissen (DHL SSC Maastricht)" userId="1afa8510-4eed-4b73-a29e-678838cd8acd" providerId="ADAL" clId="{E6EBF5A5-CEC0-41D9-A58F-673413104E9E}" dt="2023-07-06T12:50:37.811" v="111"/>
          <pc:sldLayoutMkLst>
            <pc:docMk/>
            <pc:sldMasterMk cId="1560827226" sldId="2147483789"/>
            <pc:sldLayoutMk cId="3206099427" sldId="2147483906"/>
          </pc:sldLayoutMkLst>
          <pc:spChg chg="add mod">
            <ac:chgData name="Hans Gelissen (DHL SSC Maastricht)" userId="1afa8510-4eed-4b73-a29e-678838cd8acd" providerId="ADAL" clId="{E6EBF5A5-CEC0-41D9-A58F-673413104E9E}" dt="2023-07-06T12:50:37.811" v="111"/>
            <ac:spMkLst>
              <pc:docMk/>
              <pc:sldMasterMk cId="1560827226" sldId="2147483789"/>
              <pc:sldLayoutMk cId="3206099427" sldId="2147483906"/>
              <ac:spMk id="3" creationId="{43FC7401-56C6-CAF8-7658-758AB9418519}"/>
            </ac:spMkLst>
          </pc:spChg>
        </pc:sldLayoutChg>
        <pc:sldLayoutChg chg="addSp modSp">
          <pc:chgData name="Hans Gelissen (DHL SSC Maastricht)" userId="1afa8510-4eed-4b73-a29e-678838cd8acd" providerId="ADAL" clId="{E6EBF5A5-CEC0-41D9-A58F-673413104E9E}" dt="2023-07-06T12:50:38.189" v="112"/>
          <pc:sldLayoutMkLst>
            <pc:docMk/>
            <pc:sldMasterMk cId="1560827226" sldId="2147483789"/>
            <pc:sldLayoutMk cId="4204909159" sldId="2147483907"/>
          </pc:sldLayoutMkLst>
          <pc:spChg chg="add mod">
            <ac:chgData name="Hans Gelissen (DHL SSC Maastricht)" userId="1afa8510-4eed-4b73-a29e-678838cd8acd" providerId="ADAL" clId="{E6EBF5A5-CEC0-41D9-A58F-673413104E9E}" dt="2023-07-06T12:50:38.189" v="112"/>
            <ac:spMkLst>
              <pc:docMk/>
              <pc:sldMasterMk cId="1560827226" sldId="2147483789"/>
              <pc:sldLayoutMk cId="4204909159" sldId="2147483907"/>
              <ac:spMk id="3" creationId="{ACD34773-EFE1-742E-6295-3B911F89A330}"/>
            </ac:spMkLst>
          </pc:spChg>
        </pc:sldLayoutChg>
        <pc:sldLayoutChg chg="addSp modSp">
          <pc:chgData name="Hans Gelissen (DHL SSC Maastricht)" userId="1afa8510-4eed-4b73-a29e-678838cd8acd" providerId="ADAL" clId="{E6EBF5A5-CEC0-41D9-A58F-673413104E9E}" dt="2023-07-06T12:50:38.643" v="113"/>
          <pc:sldLayoutMkLst>
            <pc:docMk/>
            <pc:sldMasterMk cId="1560827226" sldId="2147483789"/>
            <pc:sldLayoutMk cId="1584122736" sldId="2147483908"/>
          </pc:sldLayoutMkLst>
          <pc:spChg chg="add mod">
            <ac:chgData name="Hans Gelissen (DHL SSC Maastricht)" userId="1afa8510-4eed-4b73-a29e-678838cd8acd" providerId="ADAL" clId="{E6EBF5A5-CEC0-41D9-A58F-673413104E9E}" dt="2023-07-06T12:50:38.643" v="113"/>
            <ac:spMkLst>
              <pc:docMk/>
              <pc:sldMasterMk cId="1560827226" sldId="2147483789"/>
              <pc:sldLayoutMk cId="1584122736" sldId="2147483908"/>
              <ac:spMk id="3" creationId="{70A00CE4-004A-E11B-8B9D-CE74CADE79E1}"/>
            </ac:spMkLst>
          </pc:spChg>
        </pc:sldLayoutChg>
        <pc:sldLayoutChg chg="addSp modSp">
          <pc:chgData name="Hans Gelissen (DHL SSC Maastricht)" userId="1afa8510-4eed-4b73-a29e-678838cd8acd" providerId="ADAL" clId="{E6EBF5A5-CEC0-41D9-A58F-673413104E9E}" dt="2023-07-06T12:50:39.087" v="114"/>
          <pc:sldLayoutMkLst>
            <pc:docMk/>
            <pc:sldMasterMk cId="1560827226" sldId="2147483789"/>
            <pc:sldLayoutMk cId="1787164114" sldId="2147483989"/>
          </pc:sldLayoutMkLst>
          <pc:spChg chg="add mod">
            <ac:chgData name="Hans Gelissen (DHL SSC Maastricht)" userId="1afa8510-4eed-4b73-a29e-678838cd8acd" providerId="ADAL" clId="{E6EBF5A5-CEC0-41D9-A58F-673413104E9E}" dt="2023-07-06T12:50:39.087" v="114"/>
            <ac:spMkLst>
              <pc:docMk/>
              <pc:sldMasterMk cId="1560827226" sldId="2147483789"/>
              <pc:sldLayoutMk cId="1787164114" sldId="2147483989"/>
              <ac:spMk id="3" creationId="{9392B855-BF08-36DD-F383-A40170DB178A}"/>
            </ac:spMkLst>
          </pc:spChg>
        </pc:sldLayoutChg>
        <pc:sldLayoutChg chg="addSp modSp">
          <pc:chgData name="Hans Gelissen (DHL SSC Maastricht)" userId="1afa8510-4eed-4b73-a29e-678838cd8acd" providerId="ADAL" clId="{E6EBF5A5-CEC0-41D9-A58F-673413104E9E}" dt="2023-07-06T12:50:39.429" v="115"/>
          <pc:sldLayoutMkLst>
            <pc:docMk/>
            <pc:sldMasterMk cId="1560827226" sldId="2147483789"/>
            <pc:sldLayoutMk cId="243815297" sldId="2147483990"/>
          </pc:sldLayoutMkLst>
          <pc:spChg chg="add mod">
            <ac:chgData name="Hans Gelissen (DHL SSC Maastricht)" userId="1afa8510-4eed-4b73-a29e-678838cd8acd" providerId="ADAL" clId="{E6EBF5A5-CEC0-41D9-A58F-673413104E9E}" dt="2023-07-06T12:50:39.429" v="115"/>
            <ac:spMkLst>
              <pc:docMk/>
              <pc:sldMasterMk cId="1560827226" sldId="2147483789"/>
              <pc:sldLayoutMk cId="243815297" sldId="2147483990"/>
              <ac:spMk id="3" creationId="{DB959263-4CD4-00B7-2603-3C64F5C0BBAB}"/>
            </ac:spMkLst>
          </pc:spChg>
        </pc:sldLayoutChg>
        <pc:sldLayoutChg chg="addSp modSp">
          <pc:chgData name="Hans Gelissen (DHL SSC Maastricht)" userId="1afa8510-4eed-4b73-a29e-678838cd8acd" providerId="ADAL" clId="{E6EBF5A5-CEC0-41D9-A58F-673413104E9E}" dt="2023-07-06T12:50:39.877" v="116"/>
          <pc:sldLayoutMkLst>
            <pc:docMk/>
            <pc:sldMasterMk cId="1560827226" sldId="2147483789"/>
            <pc:sldLayoutMk cId="719341732" sldId="2147483991"/>
          </pc:sldLayoutMkLst>
          <pc:spChg chg="add mod">
            <ac:chgData name="Hans Gelissen (DHL SSC Maastricht)" userId="1afa8510-4eed-4b73-a29e-678838cd8acd" providerId="ADAL" clId="{E6EBF5A5-CEC0-41D9-A58F-673413104E9E}" dt="2023-07-06T12:50:39.877" v="116"/>
            <ac:spMkLst>
              <pc:docMk/>
              <pc:sldMasterMk cId="1560827226" sldId="2147483789"/>
              <pc:sldLayoutMk cId="719341732" sldId="2147483991"/>
              <ac:spMk id="3" creationId="{EDF235D4-442E-C5AF-A003-F4EDD215B10E}"/>
            </ac:spMkLst>
          </pc:spChg>
        </pc:sldLayoutChg>
        <pc:sldLayoutChg chg="addSp modSp">
          <pc:chgData name="Hans Gelissen (DHL SSC Maastricht)" userId="1afa8510-4eed-4b73-a29e-678838cd8acd" providerId="ADAL" clId="{E6EBF5A5-CEC0-41D9-A58F-673413104E9E}" dt="2023-07-06T12:50:40.210" v="117"/>
          <pc:sldLayoutMkLst>
            <pc:docMk/>
            <pc:sldMasterMk cId="1560827226" sldId="2147483789"/>
            <pc:sldLayoutMk cId="74415229" sldId="2147483992"/>
          </pc:sldLayoutMkLst>
          <pc:spChg chg="add mod">
            <ac:chgData name="Hans Gelissen (DHL SSC Maastricht)" userId="1afa8510-4eed-4b73-a29e-678838cd8acd" providerId="ADAL" clId="{E6EBF5A5-CEC0-41D9-A58F-673413104E9E}" dt="2023-07-06T12:50:40.210" v="117"/>
            <ac:spMkLst>
              <pc:docMk/>
              <pc:sldMasterMk cId="1560827226" sldId="2147483789"/>
              <pc:sldLayoutMk cId="74415229" sldId="2147483992"/>
              <ac:spMk id="3" creationId="{3CEA5DF7-5445-1828-C925-41364F650FEB}"/>
            </ac:spMkLst>
          </pc:spChg>
        </pc:sldLayoutChg>
        <pc:sldLayoutChg chg="addSp modSp">
          <pc:chgData name="Hans Gelissen (DHL SSC Maastricht)" userId="1afa8510-4eed-4b73-a29e-678838cd8acd" providerId="ADAL" clId="{E6EBF5A5-CEC0-41D9-A58F-673413104E9E}" dt="2023-07-06T12:50:40.961" v="119"/>
          <pc:sldLayoutMkLst>
            <pc:docMk/>
            <pc:sldMasterMk cId="1560827226" sldId="2147483789"/>
            <pc:sldLayoutMk cId="2411693142" sldId="2147483993"/>
          </pc:sldLayoutMkLst>
          <pc:spChg chg="add mod">
            <ac:chgData name="Hans Gelissen (DHL SSC Maastricht)" userId="1afa8510-4eed-4b73-a29e-678838cd8acd" providerId="ADAL" clId="{E6EBF5A5-CEC0-41D9-A58F-673413104E9E}" dt="2023-07-06T12:50:40.961" v="119"/>
            <ac:spMkLst>
              <pc:docMk/>
              <pc:sldMasterMk cId="1560827226" sldId="2147483789"/>
              <pc:sldLayoutMk cId="2411693142" sldId="2147483993"/>
              <ac:spMk id="3" creationId="{D6F72FA7-DDE9-D222-8BC9-40B2EAACCC0C}"/>
            </ac:spMkLst>
          </pc:spChg>
        </pc:sldLayoutChg>
        <pc:sldLayoutChg chg="addSp modSp">
          <pc:chgData name="Hans Gelissen (DHL SSC Maastricht)" userId="1afa8510-4eed-4b73-a29e-678838cd8acd" providerId="ADAL" clId="{E6EBF5A5-CEC0-41D9-A58F-673413104E9E}" dt="2023-07-06T12:50:41.293" v="120"/>
          <pc:sldLayoutMkLst>
            <pc:docMk/>
            <pc:sldMasterMk cId="1560827226" sldId="2147483789"/>
            <pc:sldLayoutMk cId="4286881312" sldId="2147483994"/>
          </pc:sldLayoutMkLst>
          <pc:spChg chg="add mod">
            <ac:chgData name="Hans Gelissen (DHL SSC Maastricht)" userId="1afa8510-4eed-4b73-a29e-678838cd8acd" providerId="ADAL" clId="{E6EBF5A5-CEC0-41D9-A58F-673413104E9E}" dt="2023-07-06T12:50:41.293" v="120"/>
            <ac:spMkLst>
              <pc:docMk/>
              <pc:sldMasterMk cId="1560827226" sldId="2147483789"/>
              <pc:sldLayoutMk cId="4286881312" sldId="2147483994"/>
              <ac:spMk id="3" creationId="{BC05AA62-7C5D-9EB5-50EA-83DB8653FE86}"/>
            </ac:spMkLst>
          </pc:spChg>
        </pc:sldLayoutChg>
        <pc:sldLayoutChg chg="addSp modSp">
          <pc:chgData name="Hans Gelissen (DHL SSC Maastricht)" userId="1afa8510-4eed-4b73-a29e-678838cd8acd" providerId="ADAL" clId="{E6EBF5A5-CEC0-41D9-A58F-673413104E9E}" dt="2023-07-06T12:50:41.678" v="121"/>
          <pc:sldLayoutMkLst>
            <pc:docMk/>
            <pc:sldMasterMk cId="1560827226" sldId="2147483789"/>
            <pc:sldLayoutMk cId="463531548" sldId="2147483995"/>
          </pc:sldLayoutMkLst>
          <pc:spChg chg="add mod">
            <ac:chgData name="Hans Gelissen (DHL SSC Maastricht)" userId="1afa8510-4eed-4b73-a29e-678838cd8acd" providerId="ADAL" clId="{E6EBF5A5-CEC0-41D9-A58F-673413104E9E}" dt="2023-07-06T12:50:41.678" v="121"/>
            <ac:spMkLst>
              <pc:docMk/>
              <pc:sldMasterMk cId="1560827226" sldId="2147483789"/>
              <pc:sldLayoutMk cId="463531548" sldId="2147483995"/>
              <ac:spMk id="3" creationId="{7F5C670B-6318-DB4D-B41D-B44008017EAE}"/>
            </ac:spMkLst>
          </pc:spChg>
        </pc:sldLayoutChg>
        <pc:sldLayoutChg chg="addSp modSp">
          <pc:chgData name="Hans Gelissen (DHL SSC Maastricht)" userId="1afa8510-4eed-4b73-a29e-678838cd8acd" providerId="ADAL" clId="{E6EBF5A5-CEC0-41D9-A58F-673413104E9E}" dt="2023-07-06T12:50:40.590" v="118"/>
          <pc:sldLayoutMkLst>
            <pc:docMk/>
            <pc:sldMasterMk cId="1560827226" sldId="2147483789"/>
            <pc:sldLayoutMk cId="520838339" sldId="2147483996"/>
          </pc:sldLayoutMkLst>
          <pc:spChg chg="add mod">
            <ac:chgData name="Hans Gelissen (DHL SSC Maastricht)" userId="1afa8510-4eed-4b73-a29e-678838cd8acd" providerId="ADAL" clId="{E6EBF5A5-CEC0-41D9-A58F-673413104E9E}" dt="2023-07-06T12:50:40.590" v="118"/>
            <ac:spMkLst>
              <pc:docMk/>
              <pc:sldMasterMk cId="1560827226" sldId="2147483789"/>
              <pc:sldLayoutMk cId="520838339" sldId="2147483996"/>
              <ac:spMk id="3" creationId="{03E8E30F-198F-8361-6A80-D34672AB4CC8}"/>
            </ac:spMkLst>
          </pc:spChg>
        </pc:sldLayoutChg>
      </pc:sldMasterChg>
      <pc:sldMasterChg chg="addSp modSp modSldLayout">
        <pc:chgData name="Hans Gelissen (DHL SSC Maastricht)" userId="1afa8510-4eed-4b73-a29e-678838cd8acd" providerId="ADAL" clId="{E6EBF5A5-CEC0-41D9-A58F-673413104E9E}" dt="2023-07-06T12:50:34.124" v="103"/>
        <pc:sldMasterMkLst>
          <pc:docMk/>
          <pc:sldMasterMk cId="1369645148" sldId="2147483790"/>
        </pc:sldMasterMkLst>
        <pc:spChg chg="add mod">
          <ac:chgData name="Hans Gelissen (DHL SSC Maastricht)" userId="1afa8510-4eed-4b73-a29e-678838cd8acd" providerId="ADAL" clId="{E6EBF5A5-CEC0-41D9-A58F-673413104E9E}" dt="2023-07-06T12:49:24" v="21"/>
          <ac:spMkLst>
            <pc:docMk/>
            <pc:sldMasterMk cId="1369645148" sldId="2147483790"/>
            <ac:spMk id="2" creationId="{DDBBD520-749F-F108-FD0F-412BC9825A09}"/>
          </ac:spMkLst>
        </pc:spChg>
        <pc:sldLayoutChg chg="addSp modSp">
          <pc:chgData name="Hans Gelissen (DHL SSC Maastricht)" userId="1afa8510-4eed-4b73-a29e-678838cd8acd" providerId="ADAL" clId="{E6EBF5A5-CEC0-41D9-A58F-673413104E9E}" dt="2023-07-06T12:50:26.810" v="85"/>
          <pc:sldLayoutMkLst>
            <pc:docMk/>
            <pc:sldMasterMk cId="1369645148" sldId="2147483790"/>
            <pc:sldLayoutMk cId="3969535793" sldId="2147483785"/>
          </pc:sldLayoutMkLst>
          <pc:spChg chg="add mod">
            <ac:chgData name="Hans Gelissen (DHL SSC Maastricht)" userId="1afa8510-4eed-4b73-a29e-678838cd8acd" providerId="ADAL" clId="{E6EBF5A5-CEC0-41D9-A58F-673413104E9E}" dt="2023-07-06T12:50:26.810" v="85"/>
            <ac:spMkLst>
              <pc:docMk/>
              <pc:sldMasterMk cId="1369645148" sldId="2147483790"/>
              <pc:sldLayoutMk cId="3969535793" sldId="2147483785"/>
              <ac:spMk id="3" creationId="{25032089-B233-E9A0-42DE-EF0647AB7FCF}"/>
            </ac:spMkLst>
          </pc:spChg>
        </pc:sldLayoutChg>
        <pc:sldLayoutChg chg="addSp modSp">
          <pc:chgData name="Hans Gelissen (DHL SSC Maastricht)" userId="1afa8510-4eed-4b73-a29e-678838cd8acd" providerId="ADAL" clId="{E6EBF5A5-CEC0-41D9-A58F-673413104E9E}" dt="2023-07-06T12:50:27.260" v="86"/>
          <pc:sldLayoutMkLst>
            <pc:docMk/>
            <pc:sldMasterMk cId="1369645148" sldId="2147483790"/>
            <pc:sldLayoutMk cId="4265294671" sldId="2147483805"/>
          </pc:sldLayoutMkLst>
          <pc:spChg chg="add mod">
            <ac:chgData name="Hans Gelissen (DHL SSC Maastricht)" userId="1afa8510-4eed-4b73-a29e-678838cd8acd" providerId="ADAL" clId="{E6EBF5A5-CEC0-41D9-A58F-673413104E9E}" dt="2023-07-06T12:50:27.260" v="86"/>
            <ac:spMkLst>
              <pc:docMk/>
              <pc:sldMasterMk cId="1369645148" sldId="2147483790"/>
              <pc:sldLayoutMk cId="4265294671" sldId="2147483805"/>
              <ac:spMk id="3" creationId="{98F44AC6-1B0D-814B-5FDA-D171FE89E7CE}"/>
            </ac:spMkLst>
          </pc:spChg>
        </pc:sldLayoutChg>
        <pc:sldLayoutChg chg="addSp modSp">
          <pc:chgData name="Hans Gelissen (DHL SSC Maastricht)" userId="1afa8510-4eed-4b73-a29e-678838cd8acd" providerId="ADAL" clId="{E6EBF5A5-CEC0-41D9-A58F-673413104E9E}" dt="2023-07-06T12:50:27.577" v="87"/>
          <pc:sldLayoutMkLst>
            <pc:docMk/>
            <pc:sldMasterMk cId="1369645148" sldId="2147483790"/>
            <pc:sldLayoutMk cId="1207693144" sldId="2147483806"/>
          </pc:sldLayoutMkLst>
          <pc:spChg chg="add mod">
            <ac:chgData name="Hans Gelissen (DHL SSC Maastricht)" userId="1afa8510-4eed-4b73-a29e-678838cd8acd" providerId="ADAL" clId="{E6EBF5A5-CEC0-41D9-A58F-673413104E9E}" dt="2023-07-06T12:50:27.577" v="87"/>
            <ac:spMkLst>
              <pc:docMk/>
              <pc:sldMasterMk cId="1369645148" sldId="2147483790"/>
              <pc:sldLayoutMk cId="1207693144" sldId="2147483806"/>
              <ac:spMk id="3" creationId="{1826851A-CEF4-0B4E-8A63-7DF113FCA185}"/>
            </ac:spMkLst>
          </pc:spChg>
        </pc:sldLayoutChg>
        <pc:sldLayoutChg chg="addSp modSp">
          <pc:chgData name="Hans Gelissen (DHL SSC Maastricht)" userId="1afa8510-4eed-4b73-a29e-678838cd8acd" providerId="ADAL" clId="{E6EBF5A5-CEC0-41D9-A58F-673413104E9E}" dt="2023-07-06T12:50:34.124" v="103"/>
          <pc:sldLayoutMkLst>
            <pc:docMk/>
            <pc:sldMasterMk cId="1369645148" sldId="2147483790"/>
            <pc:sldLayoutMk cId="510718105" sldId="2147483807"/>
          </pc:sldLayoutMkLst>
          <pc:spChg chg="add mod">
            <ac:chgData name="Hans Gelissen (DHL SSC Maastricht)" userId="1afa8510-4eed-4b73-a29e-678838cd8acd" providerId="ADAL" clId="{E6EBF5A5-CEC0-41D9-A58F-673413104E9E}" dt="2023-07-06T12:50:34.124" v="103"/>
            <ac:spMkLst>
              <pc:docMk/>
              <pc:sldMasterMk cId="1369645148" sldId="2147483790"/>
              <pc:sldLayoutMk cId="510718105" sldId="2147483807"/>
              <ac:spMk id="3" creationId="{3E11BC35-209B-1E4D-BA00-CF819DFE71BF}"/>
            </ac:spMkLst>
          </pc:spChg>
        </pc:sldLayoutChg>
        <pc:sldLayoutChg chg="addSp modSp">
          <pc:chgData name="Hans Gelissen (DHL SSC Maastricht)" userId="1afa8510-4eed-4b73-a29e-678838cd8acd" providerId="ADAL" clId="{E6EBF5A5-CEC0-41D9-A58F-673413104E9E}" dt="2023-07-06T12:50:27.965" v="88"/>
          <pc:sldLayoutMkLst>
            <pc:docMk/>
            <pc:sldMasterMk cId="1369645148" sldId="2147483790"/>
            <pc:sldLayoutMk cId="1943895301" sldId="2147483845"/>
          </pc:sldLayoutMkLst>
          <pc:spChg chg="add mod">
            <ac:chgData name="Hans Gelissen (DHL SSC Maastricht)" userId="1afa8510-4eed-4b73-a29e-678838cd8acd" providerId="ADAL" clId="{E6EBF5A5-CEC0-41D9-A58F-673413104E9E}" dt="2023-07-06T12:50:27.965" v="88"/>
            <ac:spMkLst>
              <pc:docMk/>
              <pc:sldMasterMk cId="1369645148" sldId="2147483790"/>
              <pc:sldLayoutMk cId="1943895301" sldId="2147483845"/>
              <ac:spMk id="3" creationId="{437E1F8F-617F-593E-BB98-D5505A0CCC9D}"/>
            </ac:spMkLst>
          </pc:spChg>
        </pc:sldLayoutChg>
        <pc:sldLayoutChg chg="addSp modSp">
          <pc:chgData name="Hans Gelissen (DHL SSC Maastricht)" userId="1afa8510-4eed-4b73-a29e-678838cd8acd" providerId="ADAL" clId="{E6EBF5A5-CEC0-41D9-A58F-673413104E9E}" dt="2023-07-06T12:50:28.333" v="89"/>
          <pc:sldLayoutMkLst>
            <pc:docMk/>
            <pc:sldMasterMk cId="1369645148" sldId="2147483790"/>
            <pc:sldLayoutMk cId="2772115122" sldId="2147483846"/>
          </pc:sldLayoutMkLst>
          <pc:spChg chg="add mod">
            <ac:chgData name="Hans Gelissen (DHL SSC Maastricht)" userId="1afa8510-4eed-4b73-a29e-678838cd8acd" providerId="ADAL" clId="{E6EBF5A5-CEC0-41D9-A58F-673413104E9E}" dt="2023-07-06T12:50:28.333" v="89"/>
            <ac:spMkLst>
              <pc:docMk/>
              <pc:sldMasterMk cId="1369645148" sldId="2147483790"/>
              <pc:sldLayoutMk cId="2772115122" sldId="2147483846"/>
              <ac:spMk id="3" creationId="{63838DCD-C5E2-9326-B4FF-F9483E50F21C}"/>
            </ac:spMkLst>
          </pc:spChg>
        </pc:sldLayoutChg>
        <pc:sldLayoutChg chg="addSp modSp">
          <pc:chgData name="Hans Gelissen (DHL SSC Maastricht)" userId="1afa8510-4eed-4b73-a29e-678838cd8acd" providerId="ADAL" clId="{E6EBF5A5-CEC0-41D9-A58F-673413104E9E}" dt="2023-07-06T12:50:28.777" v="90"/>
          <pc:sldLayoutMkLst>
            <pc:docMk/>
            <pc:sldMasterMk cId="1369645148" sldId="2147483790"/>
            <pc:sldLayoutMk cId="2373569907" sldId="2147483847"/>
          </pc:sldLayoutMkLst>
          <pc:spChg chg="add mod">
            <ac:chgData name="Hans Gelissen (DHL SSC Maastricht)" userId="1afa8510-4eed-4b73-a29e-678838cd8acd" providerId="ADAL" clId="{E6EBF5A5-CEC0-41D9-A58F-673413104E9E}" dt="2023-07-06T12:50:28.777" v="90"/>
            <ac:spMkLst>
              <pc:docMk/>
              <pc:sldMasterMk cId="1369645148" sldId="2147483790"/>
              <pc:sldLayoutMk cId="2373569907" sldId="2147483847"/>
              <ac:spMk id="3" creationId="{9B4F8741-2B49-4BC5-BACC-E82BCCA37662}"/>
            </ac:spMkLst>
          </pc:spChg>
        </pc:sldLayoutChg>
        <pc:sldLayoutChg chg="addSp modSp">
          <pc:chgData name="Hans Gelissen (DHL SSC Maastricht)" userId="1afa8510-4eed-4b73-a29e-678838cd8acd" providerId="ADAL" clId="{E6EBF5A5-CEC0-41D9-A58F-673413104E9E}" dt="2023-07-06T12:50:29.280" v="91"/>
          <pc:sldLayoutMkLst>
            <pc:docMk/>
            <pc:sldMasterMk cId="1369645148" sldId="2147483790"/>
            <pc:sldLayoutMk cId="3743593104" sldId="2147483848"/>
          </pc:sldLayoutMkLst>
          <pc:spChg chg="add mod">
            <ac:chgData name="Hans Gelissen (DHL SSC Maastricht)" userId="1afa8510-4eed-4b73-a29e-678838cd8acd" providerId="ADAL" clId="{E6EBF5A5-CEC0-41D9-A58F-673413104E9E}" dt="2023-07-06T12:50:29.280" v="91"/>
            <ac:spMkLst>
              <pc:docMk/>
              <pc:sldMasterMk cId="1369645148" sldId="2147483790"/>
              <pc:sldLayoutMk cId="3743593104" sldId="2147483848"/>
              <ac:spMk id="3" creationId="{B2F09F2D-2EDF-6046-3E50-C51466C29639}"/>
            </ac:spMkLst>
          </pc:spChg>
        </pc:sldLayoutChg>
        <pc:sldLayoutChg chg="addSp modSp">
          <pc:chgData name="Hans Gelissen (DHL SSC Maastricht)" userId="1afa8510-4eed-4b73-a29e-678838cd8acd" providerId="ADAL" clId="{E6EBF5A5-CEC0-41D9-A58F-673413104E9E}" dt="2023-07-06T12:50:29.499" v="92"/>
          <pc:sldLayoutMkLst>
            <pc:docMk/>
            <pc:sldMasterMk cId="1369645148" sldId="2147483790"/>
            <pc:sldLayoutMk cId="1234143409" sldId="2147483900"/>
          </pc:sldLayoutMkLst>
          <pc:spChg chg="add mod">
            <ac:chgData name="Hans Gelissen (DHL SSC Maastricht)" userId="1afa8510-4eed-4b73-a29e-678838cd8acd" providerId="ADAL" clId="{E6EBF5A5-CEC0-41D9-A58F-673413104E9E}" dt="2023-07-06T12:50:29.499" v="92"/>
            <ac:spMkLst>
              <pc:docMk/>
              <pc:sldMasterMk cId="1369645148" sldId="2147483790"/>
              <pc:sldLayoutMk cId="1234143409" sldId="2147483900"/>
              <ac:spMk id="3" creationId="{F64E3280-EE03-DD41-985E-F61DEEEB3B69}"/>
            </ac:spMkLst>
          </pc:spChg>
        </pc:sldLayoutChg>
        <pc:sldLayoutChg chg="addSp modSp">
          <pc:chgData name="Hans Gelissen (DHL SSC Maastricht)" userId="1afa8510-4eed-4b73-a29e-678838cd8acd" providerId="ADAL" clId="{E6EBF5A5-CEC0-41D9-A58F-673413104E9E}" dt="2023-07-06T12:50:29.967" v="93"/>
          <pc:sldLayoutMkLst>
            <pc:docMk/>
            <pc:sldMasterMk cId="1369645148" sldId="2147483790"/>
            <pc:sldLayoutMk cId="4262359168" sldId="2147483901"/>
          </pc:sldLayoutMkLst>
          <pc:spChg chg="add mod">
            <ac:chgData name="Hans Gelissen (DHL SSC Maastricht)" userId="1afa8510-4eed-4b73-a29e-678838cd8acd" providerId="ADAL" clId="{E6EBF5A5-CEC0-41D9-A58F-673413104E9E}" dt="2023-07-06T12:50:29.967" v="93"/>
            <ac:spMkLst>
              <pc:docMk/>
              <pc:sldMasterMk cId="1369645148" sldId="2147483790"/>
              <pc:sldLayoutMk cId="4262359168" sldId="2147483901"/>
              <ac:spMk id="3" creationId="{C4829069-C91D-5B1A-8DE4-32384ED0AEF2}"/>
            </ac:spMkLst>
          </pc:spChg>
        </pc:sldLayoutChg>
        <pc:sldLayoutChg chg="addSp modSp">
          <pc:chgData name="Hans Gelissen (DHL SSC Maastricht)" userId="1afa8510-4eed-4b73-a29e-678838cd8acd" providerId="ADAL" clId="{E6EBF5A5-CEC0-41D9-A58F-673413104E9E}" dt="2023-07-06T12:50:30.313" v="94"/>
          <pc:sldLayoutMkLst>
            <pc:docMk/>
            <pc:sldMasterMk cId="1369645148" sldId="2147483790"/>
            <pc:sldLayoutMk cId="2696547024" sldId="2147483902"/>
          </pc:sldLayoutMkLst>
          <pc:spChg chg="add mod">
            <ac:chgData name="Hans Gelissen (DHL SSC Maastricht)" userId="1afa8510-4eed-4b73-a29e-678838cd8acd" providerId="ADAL" clId="{E6EBF5A5-CEC0-41D9-A58F-673413104E9E}" dt="2023-07-06T12:50:30.313" v="94"/>
            <ac:spMkLst>
              <pc:docMk/>
              <pc:sldMasterMk cId="1369645148" sldId="2147483790"/>
              <pc:sldLayoutMk cId="2696547024" sldId="2147483902"/>
              <ac:spMk id="3" creationId="{6320D2EA-9506-67FC-3DB2-64AB427A4BFB}"/>
            </ac:spMkLst>
          </pc:spChg>
        </pc:sldLayoutChg>
        <pc:sldLayoutChg chg="addSp modSp">
          <pc:chgData name="Hans Gelissen (DHL SSC Maastricht)" userId="1afa8510-4eed-4b73-a29e-678838cd8acd" providerId="ADAL" clId="{E6EBF5A5-CEC0-41D9-A58F-673413104E9E}" dt="2023-07-06T12:50:30.690" v="95"/>
          <pc:sldLayoutMkLst>
            <pc:docMk/>
            <pc:sldMasterMk cId="1369645148" sldId="2147483790"/>
            <pc:sldLayoutMk cId="4024878256" sldId="2147483903"/>
          </pc:sldLayoutMkLst>
          <pc:spChg chg="add mod">
            <ac:chgData name="Hans Gelissen (DHL SSC Maastricht)" userId="1afa8510-4eed-4b73-a29e-678838cd8acd" providerId="ADAL" clId="{E6EBF5A5-CEC0-41D9-A58F-673413104E9E}" dt="2023-07-06T12:50:30.690" v="95"/>
            <ac:spMkLst>
              <pc:docMk/>
              <pc:sldMasterMk cId="1369645148" sldId="2147483790"/>
              <pc:sldLayoutMk cId="4024878256" sldId="2147483903"/>
              <ac:spMk id="3" creationId="{24733AC7-96B3-9C0E-DBD0-6AA4A082620C}"/>
            </ac:spMkLst>
          </pc:spChg>
        </pc:sldLayoutChg>
        <pc:sldLayoutChg chg="addSp modSp">
          <pc:chgData name="Hans Gelissen (DHL SSC Maastricht)" userId="1afa8510-4eed-4b73-a29e-678838cd8acd" providerId="ADAL" clId="{E6EBF5A5-CEC0-41D9-A58F-673413104E9E}" dt="2023-07-06T12:50:32.990" v="100"/>
          <pc:sldLayoutMkLst>
            <pc:docMk/>
            <pc:sldMasterMk cId="1369645148" sldId="2147483790"/>
            <pc:sldLayoutMk cId="1994915095" sldId="2147483964"/>
          </pc:sldLayoutMkLst>
          <pc:spChg chg="add mod">
            <ac:chgData name="Hans Gelissen (DHL SSC Maastricht)" userId="1afa8510-4eed-4b73-a29e-678838cd8acd" providerId="ADAL" clId="{E6EBF5A5-CEC0-41D9-A58F-673413104E9E}" dt="2023-07-06T12:50:32.990" v="100"/>
            <ac:spMkLst>
              <pc:docMk/>
              <pc:sldMasterMk cId="1369645148" sldId="2147483790"/>
              <pc:sldLayoutMk cId="1994915095" sldId="2147483964"/>
              <ac:spMk id="3" creationId="{A3C17716-0064-658E-75D5-682FB9D56FFB}"/>
            </ac:spMkLst>
          </pc:spChg>
        </pc:sldLayoutChg>
        <pc:sldLayoutChg chg="addSp modSp">
          <pc:chgData name="Hans Gelissen (DHL SSC Maastricht)" userId="1afa8510-4eed-4b73-a29e-678838cd8acd" providerId="ADAL" clId="{E6EBF5A5-CEC0-41D9-A58F-673413104E9E}" dt="2023-07-06T12:50:33.373" v="101"/>
          <pc:sldLayoutMkLst>
            <pc:docMk/>
            <pc:sldMasterMk cId="1369645148" sldId="2147483790"/>
            <pc:sldLayoutMk cId="2771766758" sldId="2147483965"/>
          </pc:sldLayoutMkLst>
          <pc:spChg chg="add mod">
            <ac:chgData name="Hans Gelissen (DHL SSC Maastricht)" userId="1afa8510-4eed-4b73-a29e-678838cd8acd" providerId="ADAL" clId="{E6EBF5A5-CEC0-41D9-A58F-673413104E9E}" dt="2023-07-06T12:50:33.373" v="101"/>
            <ac:spMkLst>
              <pc:docMk/>
              <pc:sldMasterMk cId="1369645148" sldId="2147483790"/>
              <pc:sldLayoutMk cId="2771766758" sldId="2147483965"/>
              <ac:spMk id="3" creationId="{01E5A36D-2F38-AC34-9FD3-2A619817432A}"/>
            </ac:spMkLst>
          </pc:spChg>
        </pc:sldLayoutChg>
        <pc:sldLayoutChg chg="addSp modSp">
          <pc:chgData name="Hans Gelissen (DHL SSC Maastricht)" userId="1afa8510-4eed-4b73-a29e-678838cd8acd" providerId="ADAL" clId="{E6EBF5A5-CEC0-41D9-A58F-673413104E9E}" dt="2023-07-06T12:50:33.736" v="102"/>
          <pc:sldLayoutMkLst>
            <pc:docMk/>
            <pc:sldMasterMk cId="1369645148" sldId="2147483790"/>
            <pc:sldLayoutMk cId="428736053" sldId="2147483966"/>
          </pc:sldLayoutMkLst>
          <pc:spChg chg="add mod">
            <ac:chgData name="Hans Gelissen (DHL SSC Maastricht)" userId="1afa8510-4eed-4b73-a29e-678838cd8acd" providerId="ADAL" clId="{E6EBF5A5-CEC0-41D9-A58F-673413104E9E}" dt="2023-07-06T12:50:33.736" v="102"/>
            <ac:spMkLst>
              <pc:docMk/>
              <pc:sldMasterMk cId="1369645148" sldId="2147483790"/>
              <pc:sldLayoutMk cId="428736053" sldId="2147483966"/>
              <ac:spMk id="3" creationId="{730ED93D-3F55-B38C-D876-D6E52797ECED}"/>
            </ac:spMkLst>
          </pc:spChg>
        </pc:sldLayoutChg>
        <pc:sldLayoutChg chg="addSp modSp">
          <pc:chgData name="Hans Gelissen (DHL SSC Maastricht)" userId="1afa8510-4eed-4b73-a29e-678838cd8acd" providerId="ADAL" clId="{E6EBF5A5-CEC0-41D9-A58F-673413104E9E}" dt="2023-07-06T12:50:31.455" v="96"/>
          <pc:sldLayoutMkLst>
            <pc:docMk/>
            <pc:sldMasterMk cId="1369645148" sldId="2147483790"/>
            <pc:sldLayoutMk cId="3374739531" sldId="2147483967"/>
          </pc:sldLayoutMkLst>
          <pc:spChg chg="add mod">
            <ac:chgData name="Hans Gelissen (DHL SSC Maastricht)" userId="1afa8510-4eed-4b73-a29e-678838cd8acd" providerId="ADAL" clId="{E6EBF5A5-CEC0-41D9-A58F-673413104E9E}" dt="2023-07-06T12:50:31.455" v="96"/>
            <ac:spMkLst>
              <pc:docMk/>
              <pc:sldMasterMk cId="1369645148" sldId="2147483790"/>
              <pc:sldLayoutMk cId="3374739531" sldId="2147483967"/>
              <ac:spMk id="3" creationId="{1E3178B2-082D-1CE6-5602-B82FD30376C1}"/>
            </ac:spMkLst>
          </pc:spChg>
        </pc:sldLayoutChg>
        <pc:sldLayoutChg chg="addSp modSp">
          <pc:chgData name="Hans Gelissen (DHL SSC Maastricht)" userId="1afa8510-4eed-4b73-a29e-678838cd8acd" providerId="ADAL" clId="{E6EBF5A5-CEC0-41D9-A58F-673413104E9E}" dt="2023-07-06T12:50:31.908" v="97"/>
          <pc:sldLayoutMkLst>
            <pc:docMk/>
            <pc:sldMasterMk cId="1369645148" sldId="2147483790"/>
            <pc:sldLayoutMk cId="372204976" sldId="2147483968"/>
          </pc:sldLayoutMkLst>
          <pc:spChg chg="add mod">
            <ac:chgData name="Hans Gelissen (DHL SSC Maastricht)" userId="1afa8510-4eed-4b73-a29e-678838cd8acd" providerId="ADAL" clId="{E6EBF5A5-CEC0-41D9-A58F-673413104E9E}" dt="2023-07-06T12:50:31.908" v="97"/>
            <ac:spMkLst>
              <pc:docMk/>
              <pc:sldMasterMk cId="1369645148" sldId="2147483790"/>
              <pc:sldLayoutMk cId="372204976" sldId="2147483968"/>
              <ac:spMk id="3" creationId="{33C2940B-02D3-ED85-9C15-E33963488A7C}"/>
            </ac:spMkLst>
          </pc:spChg>
        </pc:sldLayoutChg>
        <pc:sldLayoutChg chg="addSp modSp">
          <pc:chgData name="Hans Gelissen (DHL SSC Maastricht)" userId="1afa8510-4eed-4b73-a29e-678838cd8acd" providerId="ADAL" clId="{E6EBF5A5-CEC0-41D9-A58F-673413104E9E}" dt="2023-07-06T12:50:32.232" v="98"/>
          <pc:sldLayoutMkLst>
            <pc:docMk/>
            <pc:sldMasterMk cId="1369645148" sldId="2147483790"/>
            <pc:sldLayoutMk cId="2974460564" sldId="2147483969"/>
          </pc:sldLayoutMkLst>
          <pc:spChg chg="add mod">
            <ac:chgData name="Hans Gelissen (DHL SSC Maastricht)" userId="1afa8510-4eed-4b73-a29e-678838cd8acd" providerId="ADAL" clId="{E6EBF5A5-CEC0-41D9-A58F-673413104E9E}" dt="2023-07-06T12:50:32.232" v="98"/>
            <ac:spMkLst>
              <pc:docMk/>
              <pc:sldMasterMk cId="1369645148" sldId="2147483790"/>
              <pc:sldLayoutMk cId="2974460564" sldId="2147483969"/>
              <ac:spMk id="3" creationId="{2104D5D5-F467-1C5F-66CF-A40CEB2358B9}"/>
            </ac:spMkLst>
          </pc:spChg>
        </pc:sldLayoutChg>
        <pc:sldLayoutChg chg="addSp modSp">
          <pc:chgData name="Hans Gelissen (DHL SSC Maastricht)" userId="1afa8510-4eed-4b73-a29e-678838cd8acd" providerId="ADAL" clId="{E6EBF5A5-CEC0-41D9-A58F-673413104E9E}" dt="2023-07-06T12:50:32.620" v="99"/>
          <pc:sldLayoutMkLst>
            <pc:docMk/>
            <pc:sldMasterMk cId="1369645148" sldId="2147483790"/>
            <pc:sldLayoutMk cId="2919855449" sldId="2147483970"/>
          </pc:sldLayoutMkLst>
          <pc:spChg chg="add mod">
            <ac:chgData name="Hans Gelissen (DHL SSC Maastricht)" userId="1afa8510-4eed-4b73-a29e-678838cd8acd" providerId="ADAL" clId="{E6EBF5A5-CEC0-41D9-A58F-673413104E9E}" dt="2023-07-06T12:50:32.620" v="99"/>
            <ac:spMkLst>
              <pc:docMk/>
              <pc:sldMasterMk cId="1369645148" sldId="2147483790"/>
              <pc:sldLayoutMk cId="2919855449" sldId="2147483970"/>
              <ac:spMk id="3" creationId="{772BF6C8-E405-59DA-568B-D74AA4E989AF}"/>
            </ac:spMkLst>
          </pc:spChg>
        </pc:sldLayoutChg>
      </pc:sldMasterChg>
      <pc:sldMasterChg chg="addSp modSp modSldLayout">
        <pc:chgData name="Hans Gelissen (DHL SSC Maastricht)" userId="1afa8510-4eed-4b73-a29e-678838cd8acd" providerId="ADAL" clId="{E6EBF5A5-CEC0-41D9-A58F-673413104E9E}" dt="2023-07-06T12:50:57.642" v="162"/>
        <pc:sldMasterMkLst>
          <pc:docMk/>
          <pc:sldMasterMk cId="1868986140" sldId="2147483797"/>
        </pc:sldMasterMkLst>
        <pc:spChg chg="add mod">
          <ac:chgData name="Hans Gelissen (DHL SSC Maastricht)" userId="1afa8510-4eed-4b73-a29e-678838cd8acd" providerId="ADAL" clId="{E6EBF5A5-CEC0-41D9-A58F-673413104E9E}" dt="2023-07-06T12:49:38.616" v="24"/>
          <ac:spMkLst>
            <pc:docMk/>
            <pc:sldMasterMk cId="1868986140" sldId="2147483797"/>
            <ac:spMk id="2" creationId="{A9E18B59-1FBA-347F-28A9-D9BA03B8C709}"/>
          </ac:spMkLst>
        </pc:spChg>
        <pc:sldLayoutChg chg="addSp modSp">
          <pc:chgData name="Hans Gelissen (DHL SSC Maastricht)" userId="1afa8510-4eed-4b73-a29e-678838cd8acd" providerId="ADAL" clId="{E6EBF5A5-CEC0-41D9-A58F-673413104E9E}" dt="2023-07-06T12:50:50.347" v="142"/>
          <pc:sldLayoutMkLst>
            <pc:docMk/>
            <pc:sldMasterMk cId="1868986140" sldId="2147483797"/>
            <pc:sldLayoutMk cId="685959609" sldId="2147483816"/>
          </pc:sldLayoutMkLst>
          <pc:spChg chg="add mod">
            <ac:chgData name="Hans Gelissen (DHL SSC Maastricht)" userId="1afa8510-4eed-4b73-a29e-678838cd8acd" providerId="ADAL" clId="{E6EBF5A5-CEC0-41D9-A58F-673413104E9E}" dt="2023-07-06T12:50:50.347" v="142"/>
            <ac:spMkLst>
              <pc:docMk/>
              <pc:sldMasterMk cId="1868986140" sldId="2147483797"/>
              <pc:sldLayoutMk cId="685959609" sldId="2147483816"/>
              <ac:spMk id="2" creationId="{ACC6F881-1D27-F806-EB19-8D14E7DB03D7}"/>
            </ac:spMkLst>
          </pc:spChg>
        </pc:sldLayoutChg>
        <pc:sldLayoutChg chg="addSp modSp">
          <pc:chgData name="Hans Gelissen (DHL SSC Maastricht)" userId="1afa8510-4eed-4b73-a29e-678838cd8acd" providerId="ADAL" clId="{E6EBF5A5-CEC0-41D9-A58F-673413104E9E}" dt="2023-07-06T12:50:57.092" v="160"/>
          <pc:sldLayoutMkLst>
            <pc:docMk/>
            <pc:sldMasterMk cId="1868986140" sldId="2147483797"/>
            <pc:sldLayoutMk cId="1943396673" sldId="2147483817"/>
          </pc:sldLayoutMkLst>
          <pc:spChg chg="add mod">
            <ac:chgData name="Hans Gelissen (DHL SSC Maastricht)" userId="1afa8510-4eed-4b73-a29e-678838cd8acd" providerId="ADAL" clId="{E6EBF5A5-CEC0-41D9-A58F-673413104E9E}" dt="2023-07-06T12:50:57.092" v="160"/>
            <ac:spMkLst>
              <pc:docMk/>
              <pc:sldMasterMk cId="1868986140" sldId="2147483797"/>
              <pc:sldLayoutMk cId="1943396673" sldId="2147483817"/>
              <ac:spMk id="2" creationId="{A1655C40-6E8E-775C-214C-706510AD70D5}"/>
            </ac:spMkLst>
          </pc:spChg>
        </pc:sldLayoutChg>
        <pc:sldLayoutChg chg="addSp modSp">
          <pc:chgData name="Hans Gelissen (DHL SSC Maastricht)" userId="1afa8510-4eed-4b73-a29e-678838cd8acd" providerId="ADAL" clId="{E6EBF5A5-CEC0-41D9-A58F-673413104E9E}" dt="2023-07-06T12:50:57.389" v="161"/>
          <pc:sldLayoutMkLst>
            <pc:docMk/>
            <pc:sldMasterMk cId="1868986140" sldId="2147483797"/>
            <pc:sldLayoutMk cId="2070522211" sldId="2147483819"/>
          </pc:sldLayoutMkLst>
          <pc:spChg chg="add mod">
            <ac:chgData name="Hans Gelissen (DHL SSC Maastricht)" userId="1afa8510-4eed-4b73-a29e-678838cd8acd" providerId="ADAL" clId="{E6EBF5A5-CEC0-41D9-A58F-673413104E9E}" dt="2023-07-06T12:50:57.389" v="161"/>
            <ac:spMkLst>
              <pc:docMk/>
              <pc:sldMasterMk cId="1868986140" sldId="2147483797"/>
              <pc:sldLayoutMk cId="2070522211" sldId="2147483819"/>
              <ac:spMk id="2" creationId="{D96BED2A-979B-279E-D81A-E080DAAE1C2F}"/>
            </ac:spMkLst>
          </pc:spChg>
        </pc:sldLayoutChg>
        <pc:sldLayoutChg chg="addSp modSp">
          <pc:chgData name="Hans Gelissen (DHL SSC Maastricht)" userId="1afa8510-4eed-4b73-a29e-678838cd8acd" providerId="ADAL" clId="{E6EBF5A5-CEC0-41D9-A58F-673413104E9E}" dt="2023-07-06T12:50:50.651" v="143"/>
          <pc:sldLayoutMkLst>
            <pc:docMk/>
            <pc:sldMasterMk cId="1868986140" sldId="2147483797"/>
            <pc:sldLayoutMk cId="3945046336" sldId="2147483820"/>
          </pc:sldLayoutMkLst>
          <pc:spChg chg="add mod">
            <ac:chgData name="Hans Gelissen (DHL SSC Maastricht)" userId="1afa8510-4eed-4b73-a29e-678838cd8acd" providerId="ADAL" clId="{E6EBF5A5-CEC0-41D9-A58F-673413104E9E}" dt="2023-07-06T12:50:50.651" v="143"/>
            <ac:spMkLst>
              <pc:docMk/>
              <pc:sldMasterMk cId="1868986140" sldId="2147483797"/>
              <pc:sldLayoutMk cId="3945046336" sldId="2147483820"/>
              <ac:spMk id="2" creationId="{A74B085F-4C2F-4D37-6115-21590A26AEDA}"/>
            </ac:spMkLst>
          </pc:spChg>
        </pc:sldLayoutChg>
        <pc:sldLayoutChg chg="addSp modSp">
          <pc:chgData name="Hans Gelissen (DHL SSC Maastricht)" userId="1afa8510-4eed-4b73-a29e-678838cd8acd" providerId="ADAL" clId="{E6EBF5A5-CEC0-41D9-A58F-673413104E9E}" dt="2023-07-06T12:50:51.074" v="144"/>
          <pc:sldLayoutMkLst>
            <pc:docMk/>
            <pc:sldMasterMk cId="1868986140" sldId="2147483797"/>
            <pc:sldLayoutMk cId="3617079200" sldId="2147483821"/>
          </pc:sldLayoutMkLst>
          <pc:spChg chg="add mod">
            <ac:chgData name="Hans Gelissen (DHL SSC Maastricht)" userId="1afa8510-4eed-4b73-a29e-678838cd8acd" providerId="ADAL" clId="{E6EBF5A5-CEC0-41D9-A58F-673413104E9E}" dt="2023-07-06T12:50:51.074" v="144"/>
            <ac:spMkLst>
              <pc:docMk/>
              <pc:sldMasterMk cId="1868986140" sldId="2147483797"/>
              <pc:sldLayoutMk cId="3617079200" sldId="2147483821"/>
              <ac:spMk id="2" creationId="{9BB50647-748D-E66B-695E-2438787152BB}"/>
            </ac:spMkLst>
          </pc:spChg>
        </pc:sldLayoutChg>
        <pc:sldLayoutChg chg="addSp modSp">
          <pc:chgData name="Hans Gelissen (DHL SSC Maastricht)" userId="1afa8510-4eed-4b73-a29e-678838cd8acd" providerId="ADAL" clId="{E6EBF5A5-CEC0-41D9-A58F-673413104E9E}" dt="2023-07-06T12:50:56.778" v="159"/>
          <pc:sldLayoutMkLst>
            <pc:docMk/>
            <pc:sldMasterMk cId="1868986140" sldId="2147483797"/>
            <pc:sldLayoutMk cId="3526513862" sldId="2147483822"/>
          </pc:sldLayoutMkLst>
          <pc:spChg chg="add mod">
            <ac:chgData name="Hans Gelissen (DHL SSC Maastricht)" userId="1afa8510-4eed-4b73-a29e-678838cd8acd" providerId="ADAL" clId="{E6EBF5A5-CEC0-41D9-A58F-673413104E9E}" dt="2023-07-06T12:50:56.778" v="159"/>
            <ac:spMkLst>
              <pc:docMk/>
              <pc:sldMasterMk cId="1868986140" sldId="2147483797"/>
              <pc:sldLayoutMk cId="3526513862" sldId="2147483822"/>
              <ac:spMk id="2" creationId="{BD0F6DD4-A095-F915-B2F3-F56A6F8F326A}"/>
            </ac:spMkLst>
          </pc:spChg>
        </pc:sldLayoutChg>
        <pc:sldLayoutChg chg="addSp modSp">
          <pc:chgData name="Hans Gelissen (DHL SSC Maastricht)" userId="1afa8510-4eed-4b73-a29e-678838cd8acd" providerId="ADAL" clId="{E6EBF5A5-CEC0-41D9-A58F-673413104E9E}" dt="2023-07-06T12:50:51.371" v="145"/>
          <pc:sldLayoutMkLst>
            <pc:docMk/>
            <pc:sldMasterMk cId="1868986140" sldId="2147483797"/>
            <pc:sldLayoutMk cId="3806172940" sldId="2147483867"/>
          </pc:sldLayoutMkLst>
          <pc:spChg chg="add mod">
            <ac:chgData name="Hans Gelissen (DHL SSC Maastricht)" userId="1afa8510-4eed-4b73-a29e-678838cd8acd" providerId="ADAL" clId="{E6EBF5A5-CEC0-41D9-A58F-673413104E9E}" dt="2023-07-06T12:50:51.371" v="145"/>
            <ac:spMkLst>
              <pc:docMk/>
              <pc:sldMasterMk cId="1868986140" sldId="2147483797"/>
              <pc:sldLayoutMk cId="3806172940" sldId="2147483867"/>
              <ac:spMk id="2" creationId="{3C0FA7DA-9035-A792-EBBF-1732179D9229}"/>
            </ac:spMkLst>
          </pc:spChg>
        </pc:sldLayoutChg>
        <pc:sldLayoutChg chg="addSp modSp">
          <pc:chgData name="Hans Gelissen (DHL SSC Maastricht)" userId="1afa8510-4eed-4b73-a29e-678838cd8acd" providerId="ADAL" clId="{E6EBF5A5-CEC0-41D9-A58F-673413104E9E}" dt="2023-07-06T12:50:51.706" v="146"/>
          <pc:sldLayoutMkLst>
            <pc:docMk/>
            <pc:sldMasterMk cId="1868986140" sldId="2147483797"/>
            <pc:sldLayoutMk cId="2251536655" sldId="2147483868"/>
          </pc:sldLayoutMkLst>
          <pc:spChg chg="add mod">
            <ac:chgData name="Hans Gelissen (DHL SSC Maastricht)" userId="1afa8510-4eed-4b73-a29e-678838cd8acd" providerId="ADAL" clId="{E6EBF5A5-CEC0-41D9-A58F-673413104E9E}" dt="2023-07-06T12:50:51.706" v="146"/>
            <ac:spMkLst>
              <pc:docMk/>
              <pc:sldMasterMk cId="1868986140" sldId="2147483797"/>
              <pc:sldLayoutMk cId="2251536655" sldId="2147483868"/>
              <ac:spMk id="2" creationId="{66811748-1867-BD3E-DEA5-527F2A2D0B5D}"/>
            </ac:spMkLst>
          </pc:spChg>
        </pc:sldLayoutChg>
        <pc:sldLayoutChg chg="addSp modSp">
          <pc:chgData name="Hans Gelissen (DHL SSC Maastricht)" userId="1afa8510-4eed-4b73-a29e-678838cd8acd" providerId="ADAL" clId="{E6EBF5A5-CEC0-41D9-A58F-673413104E9E}" dt="2023-07-06T12:50:52.020" v="147"/>
          <pc:sldLayoutMkLst>
            <pc:docMk/>
            <pc:sldMasterMk cId="1868986140" sldId="2147483797"/>
            <pc:sldLayoutMk cId="2932579979" sldId="2147483869"/>
          </pc:sldLayoutMkLst>
          <pc:spChg chg="add mod">
            <ac:chgData name="Hans Gelissen (DHL SSC Maastricht)" userId="1afa8510-4eed-4b73-a29e-678838cd8acd" providerId="ADAL" clId="{E6EBF5A5-CEC0-41D9-A58F-673413104E9E}" dt="2023-07-06T12:50:52.020" v="147"/>
            <ac:spMkLst>
              <pc:docMk/>
              <pc:sldMasterMk cId="1868986140" sldId="2147483797"/>
              <pc:sldLayoutMk cId="2932579979" sldId="2147483869"/>
              <ac:spMk id="2" creationId="{027B9500-905E-1D9A-6337-3C6AC06188A2}"/>
            </ac:spMkLst>
          </pc:spChg>
        </pc:sldLayoutChg>
        <pc:sldLayoutChg chg="addSp modSp">
          <pc:chgData name="Hans Gelissen (DHL SSC Maastricht)" userId="1afa8510-4eed-4b73-a29e-678838cd8acd" providerId="ADAL" clId="{E6EBF5A5-CEC0-41D9-A58F-673413104E9E}" dt="2023-07-06T12:50:52.307" v="148"/>
          <pc:sldLayoutMkLst>
            <pc:docMk/>
            <pc:sldMasterMk cId="1868986140" sldId="2147483797"/>
            <pc:sldLayoutMk cId="977397691" sldId="2147483915"/>
          </pc:sldLayoutMkLst>
          <pc:spChg chg="add mod">
            <ac:chgData name="Hans Gelissen (DHL SSC Maastricht)" userId="1afa8510-4eed-4b73-a29e-678838cd8acd" providerId="ADAL" clId="{E6EBF5A5-CEC0-41D9-A58F-673413104E9E}" dt="2023-07-06T12:50:52.307" v="148"/>
            <ac:spMkLst>
              <pc:docMk/>
              <pc:sldMasterMk cId="1868986140" sldId="2147483797"/>
              <pc:sldLayoutMk cId="977397691" sldId="2147483915"/>
              <ac:spMk id="2" creationId="{8C02A54C-D686-11F9-7E36-B7286D01543E}"/>
            </ac:spMkLst>
          </pc:spChg>
        </pc:sldLayoutChg>
        <pc:sldLayoutChg chg="addSp modSp">
          <pc:chgData name="Hans Gelissen (DHL SSC Maastricht)" userId="1afa8510-4eed-4b73-a29e-678838cd8acd" providerId="ADAL" clId="{E6EBF5A5-CEC0-41D9-A58F-673413104E9E}" dt="2023-07-06T12:50:52.605" v="149"/>
          <pc:sldLayoutMkLst>
            <pc:docMk/>
            <pc:sldMasterMk cId="1868986140" sldId="2147483797"/>
            <pc:sldLayoutMk cId="2040111478" sldId="2147483916"/>
          </pc:sldLayoutMkLst>
          <pc:spChg chg="add mod">
            <ac:chgData name="Hans Gelissen (DHL SSC Maastricht)" userId="1afa8510-4eed-4b73-a29e-678838cd8acd" providerId="ADAL" clId="{E6EBF5A5-CEC0-41D9-A58F-673413104E9E}" dt="2023-07-06T12:50:52.605" v="149"/>
            <ac:spMkLst>
              <pc:docMk/>
              <pc:sldMasterMk cId="1868986140" sldId="2147483797"/>
              <pc:sldLayoutMk cId="2040111478" sldId="2147483916"/>
              <ac:spMk id="2" creationId="{F5CC8537-BAB3-6169-4942-8C348A597470}"/>
            </ac:spMkLst>
          </pc:spChg>
        </pc:sldLayoutChg>
        <pc:sldLayoutChg chg="addSp modSp">
          <pc:chgData name="Hans Gelissen (DHL SSC Maastricht)" userId="1afa8510-4eed-4b73-a29e-678838cd8acd" providerId="ADAL" clId="{E6EBF5A5-CEC0-41D9-A58F-673413104E9E}" dt="2023-07-06T12:50:52.850" v="150"/>
          <pc:sldLayoutMkLst>
            <pc:docMk/>
            <pc:sldMasterMk cId="1868986140" sldId="2147483797"/>
            <pc:sldLayoutMk cId="244716027" sldId="2147483917"/>
          </pc:sldLayoutMkLst>
          <pc:spChg chg="add mod">
            <ac:chgData name="Hans Gelissen (DHL SSC Maastricht)" userId="1afa8510-4eed-4b73-a29e-678838cd8acd" providerId="ADAL" clId="{E6EBF5A5-CEC0-41D9-A58F-673413104E9E}" dt="2023-07-06T12:50:52.850" v="150"/>
            <ac:spMkLst>
              <pc:docMk/>
              <pc:sldMasterMk cId="1868986140" sldId="2147483797"/>
              <pc:sldLayoutMk cId="244716027" sldId="2147483917"/>
              <ac:spMk id="2" creationId="{BD034BB2-964B-D6E7-4DA3-0A20C0F9BCF9}"/>
            </ac:spMkLst>
          </pc:spChg>
        </pc:sldLayoutChg>
        <pc:sldLayoutChg chg="addSp modSp">
          <pc:chgData name="Hans Gelissen (DHL SSC Maastricht)" userId="1afa8510-4eed-4b73-a29e-678838cd8acd" providerId="ADAL" clId="{E6EBF5A5-CEC0-41D9-A58F-673413104E9E}" dt="2023-07-06T12:50:53.092" v="151"/>
          <pc:sldLayoutMkLst>
            <pc:docMk/>
            <pc:sldMasterMk cId="1868986140" sldId="2147483797"/>
            <pc:sldLayoutMk cId="1644390991" sldId="2147483918"/>
          </pc:sldLayoutMkLst>
          <pc:spChg chg="add mod">
            <ac:chgData name="Hans Gelissen (DHL SSC Maastricht)" userId="1afa8510-4eed-4b73-a29e-678838cd8acd" providerId="ADAL" clId="{E6EBF5A5-CEC0-41D9-A58F-673413104E9E}" dt="2023-07-06T12:50:53.092" v="151"/>
            <ac:spMkLst>
              <pc:docMk/>
              <pc:sldMasterMk cId="1868986140" sldId="2147483797"/>
              <pc:sldLayoutMk cId="1644390991" sldId="2147483918"/>
              <ac:spMk id="2" creationId="{74F9796E-AB9F-48D7-4CCF-CFDB258D70B5}"/>
            </ac:spMkLst>
          </pc:spChg>
        </pc:sldLayoutChg>
        <pc:sldLayoutChg chg="addSp modSp">
          <pc:chgData name="Hans Gelissen (DHL SSC Maastricht)" userId="1afa8510-4eed-4b73-a29e-678838cd8acd" providerId="ADAL" clId="{E6EBF5A5-CEC0-41D9-A58F-673413104E9E}" dt="2023-07-06T12:50:53.629" v="152"/>
          <pc:sldLayoutMkLst>
            <pc:docMk/>
            <pc:sldMasterMk cId="1868986140" sldId="2147483797"/>
            <pc:sldLayoutMk cId="4173667141" sldId="2147483998"/>
          </pc:sldLayoutMkLst>
          <pc:spChg chg="add mod">
            <ac:chgData name="Hans Gelissen (DHL SSC Maastricht)" userId="1afa8510-4eed-4b73-a29e-678838cd8acd" providerId="ADAL" clId="{E6EBF5A5-CEC0-41D9-A58F-673413104E9E}" dt="2023-07-06T12:50:53.629" v="152"/>
            <ac:spMkLst>
              <pc:docMk/>
              <pc:sldMasterMk cId="1868986140" sldId="2147483797"/>
              <pc:sldLayoutMk cId="4173667141" sldId="2147483998"/>
              <ac:spMk id="2" creationId="{8E307747-BDC3-415F-B92E-0CBFAE221BEB}"/>
            </ac:spMkLst>
          </pc:spChg>
        </pc:sldLayoutChg>
        <pc:sldLayoutChg chg="addSp modSp">
          <pc:chgData name="Hans Gelissen (DHL SSC Maastricht)" userId="1afa8510-4eed-4b73-a29e-678838cd8acd" providerId="ADAL" clId="{E6EBF5A5-CEC0-41D9-A58F-673413104E9E}" dt="2023-07-06T12:50:53.888" v="153"/>
          <pc:sldLayoutMkLst>
            <pc:docMk/>
            <pc:sldMasterMk cId="1868986140" sldId="2147483797"/>
            <pc:sldLayoutMk cId="792619031" sldId="2147483999"/>
          </pc:sldLayoutMkLst>
          <pc:spChg chg="add mod">
            <ac:chgData name="Hans Gelissen (DHL SSC Maastricht)" userId="1afa8510-4eed-4b73-a29e-678838cd8acd" providerId="ADAL" clId="{E6EBF5A5-CEC0-41D9-A58F-673413104E9E}" dt="2023-07-06T12:50:53.888" v="153"/>
            <ac:spMkLst>
              <pc:docMk/>
              <pc:sldMasterMk cId="1868986140" sldId="2147483797"/>
              <pc:sldLayoutMk cId="792619031" sldId="2147483999"/>
              <ac:spMk id="2" creationId="{92FAF34C-CC45-175F-8540-2EF5B67B0A3C}"/>
            </ac:spMkLst>
          </pc:spChg>
        </pc:sldLayoutChg>
        <pc:sldLayoutChg chg="addSp modSp">
          <pc:chgData name="Hans Gelissen (DHL SSC Maastricht)" userId="1afa8510-4eed-4b73-a29e-678838cd8acd" providerId="ADAL" clId="{E6EBF5A5-CEC0-41D9-A58F-673413104E9E}" dt="2023-07-06T12:50:54.146" v="154"/>
          <pc:sldLayoutMkLst>
            <pc:docMk/>
            <pc:sldMasterMk cId="1868986140" sldId="2147483797"/>
            <pc:sldLayoutMk cId="3478677470" sldId="2147484000"/>
          </pc:sldLayoutMkLst>
          <pc:spChg chg="add mod">
            <ac:chgData name="Hans Gelissen (DHL SSC Maastricht)" userId="1afa8510-4eed-4b73-a29e-678838cd8acd" providerId="ADAL" clId="{E6EBF5A5-CEC0-41D9-A58F-673413104E9E}" dt="2023-07-06T12:50:54.146" v="154"/>
            <ac:spMkLst>
              <pc:docMk/>
              <pc:sldMasterMk cId="1868986140" sldId="2147483797"/>
              <pc:sldLayoutMk cId="3478677470" sldId="2147484000"/>
              <ac:spMk id="2" creationId="{111A34BF-A5D4-9674-3172-BCA9BED6A8AB}"/>
            </ac:spMkLst>
          </pc:spChg>
        </pc:sldLayoutChg>
        <pc:sldLayoutChg chg="addSp modSp">
          <pc:chgData name="Hans Gelissen (DHL SSC Maastricht)" userId="1afa8510-4eed-4b73-a29e-678838cd8acd" providerId="ADAL" clId="{E6EBF5A5-CEC0-41D9-A58F-673413104E9E}" dt="2023-07-06T12:50:54.642" v="156"/>
          <pc:sldLayoutMkLst>
            <pc:docMk/>
            <pc:sldMasterMk cId="1868986140" sldId="2147483797"/>
            <pc:sldLayoutMk cId="1177635758" sldId="2147484001"/>
          </pc:sldLayoutMkLst>
          <pc:spChg chg="add mod">
            <ac:chgData name="Hans Gelissen (DHL SSC Maastricht)" userId="1afa8510-4eed-4b73-a29e-678838cd8acd" providerId="ADAL" clId="{E6EBF5A5-CEC0-41D9-A58F-673413104E9E}" dt="2023-07-06T12:50:54.642" v="156"/>
            <ac:spMkLst>
              <pc:docMk/>
              <pc:sldMasterMk cId="1868986140" sldId="2147483797"/>
              <pc:sldLayoutMk cId="1177635758" sldId="2147484001"/>
              <ac:spMk id="2" creationId="{94052C86-9BF1-137C-8ABF-D5FB04130130}"/>
            </ac:spMkLst>
          </pc:spChg>
        </pc:sldLayoutChg>
        <pc:sldLayoutChg chg="addSp modSp">
          <pc:chgData name="Hans Gelissen (DHL SSC Maastricht)" userId="1afa8510-4eed-4b73-a29e-678838cd8acd" providerId="ADAL" clId="{E6EBF5A5-CEC0-41D9-A58F-673413104E9E}" dt="2023-07-06T12:50:56.089" v="157"/>
          <pc:sldLayoutMkLst>
            <pc:docMk/>
            <pc:sldMasterMk cId="1868986140" sldId="2147483797"/>
            <pc:sldLayoutMk cId="2857915107" sldId="2147484002"/>
          </pc:sldLayoutMkLst>
          <pc:spChg chg="add mod">
            <ac:chgData name="Hans Gelissen (DHL SSC Maastricht)" userId="1afa8510-4eed-4b73-a29e-678838cd8acd" providerId="ADAL" clId="{E6EBF5A5-CEC0-41D9-A58F-673413104E9E}" dt="2023-07-06T12:50:56.089" v="157"/>
            <ac:spMkLst>
              <pc:docMk/>
              <pc:sldMasterMk cId="1868986140" sldId="2147483797"/>
              <pc:sldLayoutMk cId="2857915107" sldId="2147484002"/>
              <ac:spMk id="2" creationId="{742410F2-3C9D-C865-0D0D-8B76934BA5D2}"/>
            </ac:spMkLst>
          </pc:spChg>
        </pc:sldLayoutChg>
        <pc:sldLayoutChg chg="addSp modSp">
          <pc:chgData name="Hans Gelissen (DHL SSC Maastricht)" userId="1afa8510-4eed-4b73-a29e-678838cd8acd" providerId="ADAL" clId="{E6EBF5A5-CEC0-41D9-A58F-673413104E9E}" dt="2023-07-06T12:50:56.446" v="158"/>
          <pc:sldLayoutMkLst>
            <pc:docMk/>
            <pc:sldMasterMk cId="1868986140" sldId="2147483797"/>
            <pc:sldLayoutMk cId="3568781352" sldId="2147484003"/>
          </pc:sldLayoutMkLst>
          <pc:spChg chg="add mod">
            <ac:chgData name="Hans Gelissen (DHL SSC Maastricht)" userId="1afa8510-4eed-4b73-a29e-678838cd8acd" providerId="ADAL" clId="{E6EBF5A5-CEC0-41D9-A58F-673413104E9E}" dt="2023-07-06T12:50:56.446" v="158"/>
            <ac:spMkLst>
              <pc:docMk/>
              <pc:sldMasterMk cId="1868986140" sldId="2147483797"/>
              <pc:sldLayoutMk cId="3568781352" sldId="2147484003"/>
              <ac:spMk id="2" creationId="{A26ED796-DCCE-C0F7-2251-531D2B422434}"/>
            </ac:spMkLst>
          </pc:spChg>
        </pc:sldLayoutChg>
        <pc:sldLayoutChg chg="addSp modSp">
          <pc:chgData name="Hans Gelissen (DHL SSC Maastricht)" userId="1afa8510-4eed-4b73-a29e-678838cd8acd" providerId="ADAL" clId="{E6EBF5A5-CEC0-41D9-A58F-673413104E9E}" dt="2023-07-06T12:50:54.377" v="155"/>
          <pc:sldLayoutMkLst>
            <pc:docMk/>
            <pc:sldMasterMk cId="1868986140" sldId="2147483797"/>
            <pc:sldLayoutMk cId="1550887452" sldId="2147484004"/>
          </pc:sldLayoutMkLst>
          <pc:spChg chg="add mod">
            <ac:chgData name="Hans Gelissen (DHL SSC Maastricht)" userId="1afa8510-4eed-4b73-a29e-678838cd8acd" providerId="ADAL" clId="{E6EBF5A5-CEC0-41D9-A58F-673413104E9E}" dt="2023-07-06T12:50:54.377" v="155"/>
            <ac:spMkLst>
              <pc:docMk/>
              <pc:sldMasterMk cId="1868986140" sldId="2147483797"/>
              <pc:sldLayoutMk cId="1550887452" sldId="2147484004"/>
              <ac:spMk id="2" creationId="{0191D303-EBED-5B06-EE7F-FFDC12252F66}"/>
            </ac:spMkLst>
          </pc:spChg>
        </pc:sldLayoutChg>
        <pc:sldLayoutChg chg="addSp modSp">
          <pc:chgData name="Hans Gelissen (DHL SSC Maastricht)" userId="1afa8510-4eed-4b73-a29e-678838cd8acd" providerId="ADAL" clId="{E6EBF5A5-CEC0-41D9-A58F-673413104E9E}" dt="2023-07-06T12:50:57.642" v="162"/>
          <pc:sldLayoutMkLst>
            <pc:docMk/>
            <pc:sldMasterMk cId="1868986140" sldId="2147483797"/>
            <pc:sldLayoutMk cId="3374177708" sldId="2147484029"/>
          </pc:sldLayoutMkLst>
          <pc:spChg chg="add mod">
            <ac:chgData name="Hans Gelissen (DHL SSC Maastricht)" userId="1afa8510-4eed-4b73-a29e-678838cd8acd" providerId="ADAL" clId="{E6EBF5A5-CEC0-41D9-A58F-673413104E9E}" dt="2023-07-06T12:50:57.642" v="162"/>
            <ac:spMkLst>
              <pc:docMk/>
              <pc:sldMasterMk cId="1868986140" sldId="2147483797"/>
              <pc:sldLayoutMk cId="3374177708" sldId="2147484029"/>
              <ac:spMk id="2" creationId="{47FAAA2D-6404-1699-A022-31A0823E5E20}"/>
            </ac:spMkLst>
          </pc:spChg>
        </pc:sldLayoutChg>
      </pc:sldMasterChg>
      <pc:sldMasterChg chg="addSp modSp modSldLayout">
        <pc:chgData name="Hans Gelissen (DHL SSC Maastricht)" userId="1afa8510-4eed-4b73-a29e-678838cd8acd" providerId="ADAL" clId="{E6EBF5A5-CEC0-41D9-A58F-673413104E9E}" dt="2023-07-06T12:50:49.652" v="141"/>
        <pc:sldMasterMkLst>
          <pc:docMk/>
          <pc:sldMasterMk cId="380743489" sldId="2147483798"/>
        </pc:sldMasterMkLst>
        <pc:spChg chg="add mod">
          <ac:chgData name="Hans Gelissen (DHL SSC Maastricht)" userId="1afa8510-4eed-4b73-a29e-678838cd8acd" providerId="ADAL" clId="{E6EBF5A5-CEC0-41D9-A58F-673413104E9E}" dt="2023-07-06T12:49:31.216" v="23"/>
          <ac:spMkLst>
            <pc:docMk/>
            <pc:sldMasterMk cId="380743489" sldId="2147483798"/>
            <ac:spMk id="2" creationId="{DAB25C37-1360-1480-FFA7-1A3FD9B2391C}"/>
          </ac:spMkLst>
        </pc:spChg>
        <pc:sldLayoutChg chg="addSp modSp">
          <pc:chgData name="Hans Gelissen (DHL SSC Maastricht)" userId="1afa8510-4eed-4b73-a29e-678838cd8acd" providerId="ADAL" clId="{E6EBF5A5-CEC0-41D9-A58F-673413104E9E}" dt="2023-07-06T12:50:42.750" v="123"/>
          <pc:sldLayoutMkLst>
            <pc:docMk/>
            <pc:sldMasterMk cId="380743489" sldId="2147483798"/>
            <pc:sldLayoutMk cId="3165067286" sldId="2147483799"/>
          </pc:sldLayoutMkLst>
          <pc:spChg chg="add mod">
            <ac:chgData name="Hans Gelissen (DHL SSC Maastricht)" userId="1afa8510-4eed-4b73-a29e-678838cd8acd" providerId="ADAL" clId="{E6EBF5A5-CEC0-41D9-A58F-673413104E9E}" dt="2023-07-06T12:50:42.750" v="123"/>
            <ac:spMkLst>
              <pc:docMk/>
              <pc:sldMasterMk cId="380743489" sldId="2147483798"/>
              <pc:sldLayoutMk cId="3165067286" sldId="2147483799"/>
              <ac:spMk id="3" creationId="{AAC9951D-016B-5734-B156-2637F277BCC1}"/>
            </ac:spMkLst>
          </pc:spChg>
        </pc:sldLayoutChg>
        <pc:sldLayoutChg chg="addSp modSp">
          <pc:chgData name="Hans Gelissen (DHL SSC Maastricht)" userId="1afa8510-4eed-4b73-a29e-678838cd8acd" providerId="ADAL" clId="{E6EBF5A5-CEC0-41D9-A58F-673413104E9E}" dt="2023-07-06T12:50:43.157" v="124"/>
          <pc:sldLayoutMkLst>
            <pc:docMk/>
            <pc:sldMasterMk cId="380743489" sldId="2147483798"/>
            <pc:sldLayoutMk cId="3551274112" sldId="2147483811"/>
          </pc:sldLayoutMkLst>
          <pc:spChg chg="add mod">
            <ac:chgData name="Hans Gelissen (DHL SSC Maastricht)" userId="1afa8510-4eed-4b73-a29e-678838cd8acd" providerId="ADAL" clId="{E6EBF5A5-CEC0-41D9-A58F-673413104E9E}" dt="2023-07-06T12:50:43.157" v="124"/>
            <ac:spMkLst>
              <pc:docMk/>
              <pc:sldMasterMk cId="380743489" sldId="2147483798"/>
              <pc:sldLayoutMk cId="3551274112" sldId="2147483811"/>
              <ac:spMk id="3" creationId="{76077768-C233-8431-3395-C9C35D875D93}"/>
            </ac:spMkLst>
          </pc:spChg>
        </pc:sldLayoutChg>
        <pc:sldLayoutChg chg="addSp modSp">
          <pc:chgData name="Hans Gelissen (DHL SSC Maastricht)" userId="1afa8510-4eed-4b73-a29e-678838cd8acd" providerId="ADAL" clId="{E6EBF5A5-CEC0-41D9-A58F-673413104E9E}" dt="2023-07-06T12:50:43.510" v="125"/>
          <pc:sldLayoutMkLst>
            <pc:docMk/>
            <pc:sldMasterMk cId="380743489" sldId="2147483798"/>
            <pc:sldLayoutMk cId="1975890743" sldId="2147483812"/>
          </pc:sldLayoutMkLst>
          <pc:spChg chg="add mod">
            <ac:chgData name="Hans Gelissen (DHL SSC Maastricht)" userId="1afa8510-4eed-4b73-a29e-678838cd8acd" providerId="ADAL" clId="{E6EBF5A5-CEC0-41D9-A58F-673413104E9E}" dt="2023-07-06T12:50:43.510" v="125"/>
            <ac:spMkLst>
              <pc:docMk/>
              <pc:sldMasterMk cId="380743489" sldId="2147483798"/>
              <pc:sldLayoutMk cId="1975890743" sldId="2147483812"/>
              <ac:spMk id="3" creationId="{CB6F5466-C94C-ED15-DA72-5AF5DBE442D4}"/>
            </ac:spMkLst>
          </pc:spChg>
        </pc:sldLayoutChg>
        <pc:sldLayoutChg chg="addSp modSp">
          <pc:chgData name="Hans Gelissen (DHL SSC Maastricht)" userId="1afa8510-4eed-4b73-a29e-678838cd8acd" providerId="ADAL" clId="{E6EBF5A5-CEC0-41D9-A58F-673413104E9E}" dt="2023-07-06T12:50:49.652" v="141"/>
          <pc:sldLayoutMkLst>
            <pc:docMk/>
            <pc:sldMasterMk cId="380743489" sldId="2147483798"/>
            <pc:sldLayoutMk cId="718631429" sldId="2147483813"/>
          </pc:sldLayoutMkLst>
          <pc:spChg chg="add mod">
            <ac:chgData name="Hans Gelissen (DHL SSC Maastricht)" userId="1afa8510-4eed-4b73-a29e-678838cd8acd" providerId="ADAL" clId="{E6EBF5A5-CEC0-41D9-A58F-673413104E9E}" dt="2023-07-06T12:50:49.652" v="141"/>
            <ac:spMkLst>
              <pc:docMk/>
              <pc:sldMasterMk cId="380743489" sldId="2147483798"/>
              <pc:sldLayoutMk cId="718631429" sldId="2147483813"/>
              <ac:spMk id="3" creationId="{D1F2FF33-EAB0-C89F-794A-055871051DD5}"/>
            </ac:spMkLst>
          </pc:spChg>
        </pc:sldLayoutChg>
        <pc:sldLayoutChg chg="addSp modSp">
          <pc:chgData name="Hans Gelissen (DHL SSC Maastricht)" userId="1afa8510-4eed-4b73-a29e-678838cd8acd" providerId="ADAL" clId="{E6EBF5A5-CEC0-41D9-A58F-673413104E9E}" dt="2023-07-06T12:50:44.228" v="127"/>
          <pc:sldLayoutMkLst>
            <pc:docMk/>
            <pc:sldMasterMk cId="380743489" sldId="2147483798"/>
            <pc:sldLayoutMk cId="1447749584" sldId="2147483858"/>
          </pc:sldLayoutMkLst>
          <pc:spChg chg="add mod">
            <ac:chgData name="Hans Gelissen (DHL SSC Maastricht)" userId="1afa8510-4eed-4b73-a29e-678838cd8acd" providerId="ADAL" clId="{E6EBF5A5-CEC0-41D9-A58F-673413104E9E}" dt="2023-07-06T12:50:44.228" v="127"/>
            <ac:spMkLst>
              <pc:docMk/>
              <pc:sldMasterMk cId="380743489" sldId="2147483798"/>
              <pc:sldLayoutMk cId="1447749584" sldId="2147483858"/>
              <ac:spMk id="3" creationId="{3253FE20-A2F6-7474-99A7-EC5524A04BCC}"/>
            </ac:spMkLst>
          </pc:spChg>
        </pc:sldLayoutChg>
        <pc:sldLayoutChg chg="addSp modSp">
          <pc:chgData name="Hans Gelissen (DHL SSC Maastricht)" userId="1afa8510-4eed-4b73-a29e-678838cd8acd" providerId="ADAL" clId="{E6EBF5A5-CEC0-41D9-A58F-673413104E9E}" dt="2023-07-06T12:50:44.596" v="128"/>
          <pc:sldLayoutMkLst>
            <pc:docMk/>
            <pc:sldMasterMk cId="380743489" sldId="2147483798"/>
            <pc:sldLayoutMk cId="3770817431" sldId="2147483859"/>
          </pc:sldLayoutMkLst>
          <pc:spChg chg="add mod">
            <ac:chgData name="Hans Gelissen (DHL SSC Maastricht)" userId="1afa8510-4eed-4b73-a29e-678838cd8acd" providerId="ADAL" clId="{E6EBF5A5-CEC0-41D9-A58F-673413104E9E}" dt="2023-07-06T12:50:44.596" v="128"/>
            <ac:spMkLst>
              <pc:docMk/>
              <pc:sldMasterMk cId="380743489" sldId="2147483798"/>
              <pc:sldLayoutMk cId="3770817431" sldId="2147483859"/>
              <ac:spMk id="3" creationId="{043A1C03-CF7A-E327-3082-5068B2BE3783}"/>
            </ac:spMkLst>
          </pc:spChg>
        </pc:sldLayoutChg>
        <pc:sldLayoutChg chg="addSp modSp">
          <pc:chgData name="Hans Gelissen (DHL SSC Maastricht)" userId="1afa8510-4eed-4b73-a29e-678838cd8acd" providerId="ADAL" clId="{E6EBF5A5-CEC0-41D9-A58F-673413104E9E}" dt="2023-07-06T12:50:44.949" v="129"/>
          <pc:sldLayoutMkLst>
            <pc:docMk/>
            <pc:sldMasterMk cId="380743489" sldId="2147483798"/>
            <pc:sldLayoutMk cId="3975550019" sldId="2147483860"/>
          </pc:sldLayoutMkLst>
          <pc:spChg chg="add mod">
            <ac:chgData name="Hans Gelissen (DHL SSC Maastricht)" userId="1afa8510-4eed-4b73-a29e-678838cd8acd" providerId="ADAL" clId="{E6EBF5A5-CEC0-41D9-A58F-673413104E9E}" dt="2023-07-06T12:50:44.949" v="129"/>
            <ac:spMkLst>
              <pc:docMk/>
              <pc:sldMasterMk cId="380743489" sldId="2147483798"/>
              <pc:sldLayoutMk cId="3975550019" sldId="2147483860"/>
              <ac:spMk id="3" creationId="{B44E7014-6940-B850-B884-E2317D448956}"/>
            </ac:spMkLst>
          </pc:spChg>
        </pc:sldLayoutChg>
        <pc:sldLayoutChg chg="addSp modSp">
          <pc:chgData name="Hans Gelissen (DHL SSC Maastricht)" userId="1afa8510-4eed-4b73-a29e-678838cd8acd" providerId="ADAL" clId="{E6EBF5A5-CEC0-41D9-A58F-673413104E9E}" dt="2023-07-06T12:50:43.876" v="126"/>
          <pc:sldLayoutMkLst>
            <pc:docMk/>
            <pc:sldMasterMk cId="380743489" sldId="2147483798"/>
            <pc:sldLayoutMk cId="2196533840" sldId="2147483861"/>
          </pc:sldLayoutMkLst>
          <pc:spChg chg="add mod">
            <ac:chgData name="Hans Gelissen (DHL SSC Maastricht)" userId="1afa8510-4eed-4b73-a29e-678838cd8acd" providerId="ADAL" clId="{E6EBF5A5-CEC0-41D9-A58F-673413104E9E}" dt="2023-07-06T12:50:43.876" v="126"/>
            <ac:spMkLst>
              <pc:docMk/>
              <pc:sldMasterMk cId="380743489" sldId="2147483798"/>
              <pc:sldLayoutMk cId="2196533840" sldId="2147483861"/>
              <ac:spMk id="3" creationId="{52DC4BBF-473B-20C0-B9EC-3BAADDBB6277}"/>
            </ac:spMkLst>
          </pc:spChg>
        </pc:sldLayoutChg>
        <pc:sldLayoutChg chg="addSp modSp">
          <pc:chgData name="Hans Gelissen (DHL SSC Maastricht)" userId="1afa8510-4eed-4b73-a29e-678838cd8acd" providerId="ADAL" clId="{E6EBF5A5-CEC0-41D9-A58F-673413104E9E}" dt="2023-07-06T12:50:45.280" v="130"/>
          <pc:sldLayoutMkLst>
            <pc:docMk/>
            <pc:sldMasterMk cId="380743489" sldId="2147483798"/>
            <pc:sldLayoutMk cId="2558172010" sldId="2147483910"/>
          </pc:sldLayoutMkLst>
          <pc:spChg chg="add mod">
            <ac:chgData name="Hans Gelissen (DHL SSC Maastricht)" userId="1afa8510-4eed-4b73-a29e-678838cd8acd" providerId="ADAL" clId="{E6EBF5A5-CEC0-41D9-A58F-673413104E9E}" dt="2023-07-06T12:50:45.280" v="130"/>
            <ac:spMkLst>
              <pc:docMk/>
              <pc:sldMasterMk cId="380743489" sldId="2147483798"/>
              <pc:sldLayoutMk cId="2558172010" sldId="2147483910"/>
              <ac:spMk id="3" creationId="{D0BB9D40-55B6-AA54-88A5-02B3519DB9C3}"/>
            </ac:spMkLst>
          </pc:spChg>
        </pc:sldLayoutChg>
        <pc:sldLayoutChg chg="addSp modSp">
          <pc:chgData name="Hans Gelissen (DHL SSC Maastricht)" userId="1afa8510-4eed-4b73-a29e-678838cd8acd" providerId="ADAL" clId="{E6EBF5A5-CEC0-41D9-A58F-673413104E9E}" dt="2023-07-06T12:50:45.650" v="131"/>
          <pc:sldLayoutMkLst>
            <pc:docMk/>
            <pc:sldMasterMk cId="380743489" sldId="2147483798"/>
            <pc:sldLayoutMk cId="185021961" sldId="2147483911"/>
          </pc:sldLayoutMkLst>
          <pc:spChg chg="add mod">
            <ac:chgData name="Hans Gelissen (DHL SSC Maastricht)" userId="1afa8510-4eed-4b73-a29e-678838cd8acd" providerId="ADAL" clId="{E6EBF5A5-CEC0-41D9-A58F-673413104E9E}" dt="2023-07-06T12:50:45.650" v="131"/>
            <ac:spMkLst>
              <pc:docMk/>
              <pc:sldMasterMk cId="380743489" sldId="2147483798"/>
              <pc:sldLayoutMk cId="185021961" sldId="2147483911"/>
              <ac:spMk id="3" creationId="{15DEDF1C-80FA-B119-C252-2C2B36F7C311}"/>
            </ac:spMkLst>
          </pc:spChg>
        </pc:sldLayoutChg>
        <pc:sldLayoutChg chg="addSp modSp">
          <pc:chgData name="Hans Gelissen (DHL SSC Maastricht)" userId="1afa8510-4eed-4b73-a29e-678838cd8acd" providerId="ADAL" clId="{E6EBF5A5-CEC0-41D9-A58F-673413104E9E}" dt="2023-07-06T12:50:46.022" v="132"/>
          <pc:sldLayoutMkLst>
            <pc:docMk/>
            <pc:sldMasterMk cId="380743489" sldId="2147483798"/>
            <pc:sldLayoutMk cId="1294134225" sldId="2147483912"/>
          </pc:sldLayoutMkLst>
          <pc:spChg chg="add mod">
            <ac:chgData name="Hans Gelissen (DHL SSC Maastricht)" userId="1afa8510-4eed-4b73-a29e-678838cd8acd" providerId="ADAL" clId="{E6EBF5A5-CEC0-41D9-A58F-673413104E9E}" dt="2023-07-06T12:50:46.022" v="132"/>
            <ac:spMkLst>
              <pc:docMk/>
              <pc:sldMasterMk cId="380743489" sldId="2147483798"/>
              <pc:sldLayoutMk cId="1294134225" sldId="2147483912"/>
              <ac:spMk id="3" creationId="{A6645620-855E-BE1A-05A7-0A680677C7C3}"/>
            </ac:spMkLst>
          </pc:spChg>
        </pc:sldLayoutChg>
        <pc:sldLayoutChg chg="addSp modSp">
          <pc:chgData name="Hans Gelissen (DHL SSC Maastricht)" userId="1afa8510-4eed-4b73-a29e-678838cd8acd" providerId="ADAL" clId="{E6EBF5A5-CEC0-41D9-A58F-673413104E9E}" dt="2023-07-06T12:50:46.796" v="133"/>
          <pc:sldLayoutMkLst>
            <pc:docMk/>
            <pc:sldMasterMk cId="380743489" sldId="2147483798"/>
            <pc:sldLayoutMk cId="3620310099" sldId="2147483981"/>
          </pc:sldLayoutMkLst>
          <pc:spChg chg="add mod">
            <ac:chgData name="Hans Gelissen (DHL SSC Maastricht)" userId="1afa8510-4eed-4b73-a29e-678838cd8acd" providerId="ADAL" clId="{E6EBF5A5-CEC0-41D9-A58F-673413104E9E}" dt="2023-07-06T12:50:46.796" v="133"/>
            <ac:spMkLst>
              <pc:docMk/>
              <pc:sldMasterMk cId="380743489" sldId="2147483798"/>
              <pc:sldLayoutMk cId="3620310099" sldId="2147483981"/>
              <ac:spMk id="3" creationId="{6058C232-660E-BDC2-C6CB-A58F75C795A2}"/>
            </ac:spMkLst>
          </pc:spChg>
        </pc:sldLayoutChg>
        <pc:sldLayoutChg chg="addSp modSp">
          <pc:chgData name="Hans Gelissen (DHL SSC Maastricht)" userId="1afa8510-4eed-4b73-a29e-678838cd8acd" providerId="ADAL" clId="{E6EBF5A5-CEC0-41D9-A58F-673413104E9E}" dt="2023-07-06T12:50:47.188" v="134"/>
          <pc:sldLayoutMkLst>
            <pc:docMk/>
            <pc:sldMasterMk cId="380743489" sldId="2147483798"/>
            <pc:sldLayoutMk cId="1179472784" sldId="2147483982"/>
          </pc:sldLayoutMkLst>
          <pc:spChg chg="add mod">
            <ac:chgData name="Hans Gelissen (DHL SSC Maastricht)" userId="1afa8510-4eed-4b73-a29e-678838cd8acd" providerId="ADAL" clId="{E6EBF5A5-CEC0-41D9-A58F-673413104E9E}" dt="2023-07-06T12:50:47.188" v="134"/>
            <ac:spMkLst>
              <pc:docMk/>
              <pc:sldMasterMk cId="380743489" sldId="2147483798"/>
              <pc:sldLayoutMk cId="1179472784" sldId="2147483982"/>
              <ac:spMk id="3" creationId="{E6912EFE-0986-7C9F-3B49-8DF2D79A0C36}"/>
            </ac:spMkLst>
          </pc:spChg>
        </pc:sldLayoutChg>
        <pc:sldLayoutChg chg="addSp modSp">
          <pc:chgData name="Hans Gelissen (DHL SSC Maastricht)" userId="1afa8510-4eed-4b73-a29e-678838cd8acd" providerId="ADAL" clId="{E6EBF5A5-CEC0-41D9-A58F-673413104E9E}" dt="2023-07-06T12:50:47.538" v="135"/>
          <pc:sldLayoutMkLst>
            <pc:docMk/>
            <pc:sldMasterMk cId="380743489" sldId="2147483798"/>
            <pc:sldLayoutMk cId="743991180" sldId="2147483983"/>
          </pc:sldLayoutMkLst>
          <pc:spChg chg="add mod">
            <ac:chgData name="Hans Gelissen (DHL SSC Maastricht)" userId="1afa8510-4eed-4b73-a29e-678838cd8acd" providerId="ADAL" clId="{E6EBF5A5-CEC0-41D9-A58F-673413104E9E}" dt="2023-07-06T12:50:47.538" v="135"/>
            <ac:spMkLst>
              <pc:docMk/>
              <pc:sldMasterMk cId="380743489" sldId="2147483798"/>
              <pc:sldLayoutMk cId="743991180" sldId="2147483983"/>
              <ac:spMk id="3" creationId="{9E7F2CA7-87C6-3BF8-2BAF-8E8857FA1CC3}"/>
            </ac:spMkLst>
          </pc:spChg>
        </pc:sldLayoutChg>
        <pc:sldLayoutChg chg="addSp modSp">
          <pc:chgData name="Hans Gelissen (DHL SSC Maastricht)" userId="1afa8510-4eed-4b73-a29e-678838cd8acd" providerId="ADAL" clId="{E6EBF5A5-CEC0-41D9-A58F-673413104E9E}" dt="2023-07-06T12:50:47.894" v="136"/>
          <pc:sldLayoutMkLst>
            <pc:docMk/>
            <pc:sldMasterMk cId="380743489" sldId="2147483798"/>
            <pc:sldLayoutMk cId="3889033995" sldId="2147483984"/>
          </pc:sldLayoutMkLst>
          <pc:spChg chg="add mod">
            <ac:chgData name="Hans Gelissen (DHL SSC Maastricht)" userId="1afa8510-4eed-4b73-a29e-678838cd8acd" providerId="ADAL" clId="{E6EBF5A5-CEC0-41D9-A58F-673413104E9E}" dt="2023-07-06T12:50:47.894" v="136"/>
            <ac:spMkLst>
              <pc:docMk/>
              <pc:sldMasterMk cId="380743489" sldId="2147483798"/>
              <pc:sldLayoutMk cId="3889033995" sldId="2147483984"/>
              <ac:spMk id="3" creationId="{9AB42409-2226-60F7-ED84-58A02B58EB53}"/>
            </ac:spMkLst>
          </pc:spChg>
        </pc:sldLayoutChg>
        <pc:sldLayoutChg chg="addSp modSp">
          <pc:chgData name="Hans Gelissen (DHL SSC Maastricht)" userId="1afa8510-4eed-4b73-a29e-678838cd8acd" providerId="ADAL" clId="{E6EBF5A5-CEC0-41D9-A58F-673413104E9E}" dt="2023-07-06T12:50:48.247" v="137"/>
          <pc:sldLayoutMkLst>
            <pc:docMk/>
            <pc:sldMasterMk cId="380743489" sldId="2147483798"/>
            <pc:sldLayoutMk cId="2170927799" sldId="2147483985"/>
          </pc:sldLayoutMkLst>
          <pc:spChg chg="add mod">
            <ac:chgData name="Hans Gelissen (DHL SSC Maastricht)" userId="1afa8510-4eed-4b73-a29e-678838cd8acd" providerId="ADAL" clId="{E6EBF5A5-CEC0-41D9-A58F-673413104E9E}" dt="2023-07-06T12:50:48.247" v="137"/>
            <ac:spMkLst>
              <pc:docMk/>
              <pc:sldMasterMk cId="380743489" sldId="2147483798"/>
              <pc:sldLayoutMk cId="2170927799" sldId="2147483985"/>
              <ac:spMk id="3" creationId="{08983C4D-5970-0A61-62E8-46CF4E374FE2}"/>
            </ac:spMkLst>
          </pc:spChg>
        </pc:sldLayoutChg>
        <pc:sldLayoutChg chg="addSp modSp">
          <pc:chgData name="Hans Gelissen (DHL SSC Maastricht)" userId="1afa8510-4eed-4b73-a29e-678838cd8acd" providerId="ADAL" clId="{E6EBF5A5-CEC0-41D9-A58F-673413104E9E}" dt="2023-07-06T12:50:48.607" v="138"/>
          <pc:sldLayoutMkLst>
            <pc:docMk/>
            <pc:sldMasterMk cId="380743489" sldId="2147483798"/>
            <pc:sldLayoutMk cId="853828882" sldId="2147483986"/>
          </pc:sldLayoutMkLst>
          <pc:spChg chg="add mod">
            <ac:chgData name="Hans Gelissen (DHL SSC Maastricht)" userId="1afa8510-4eed-4b73-a29e-678838cd8acd" providerId="ADAL" clId="{E6EBF5A5-CEC0-41D9-A58F-673413104E9E}" dt="2023-07-06T12:50:48.607" v="138"/>
            <ac:spMkLst>
              <pc:docMk/>
              <pc:sldMasterMk cId="380743489" sldId="2147483798"/>
              <pc:sldLayoutMk cId="853828882" sldId="2147483986"/>
              <ac:spMk id="3" creationId="{770EAA83-C4EB-472E-C26A-C8B65A5CD744}"/>
            </ac:spMkLst>
          </pc:spChg>
        </pc:sldLayoutChg>
        <pc:sldLayoutChg chg="addSp modSp">
          <pc:chgData name="Hans Gelissen (DHL SSC Maastricht)" userId="1afa8510-4eed-4b73-a29e-678838cd8acd" providerId="ADAL" clId="{E6EBF5A5-CEC0-41D9-A58F-673413104E9E}" dt="2023-07-06T12:50:48.957" v="139"/>
          <pc:sldLayoutMkLst>
            <pc:docMk/>
            <pc:sldMasterMk cId="380743489" sldId="2147483798"/>
            <pc:sldLayoutMk cId="2500544717" sldId="2147483987"/>
          </pc:sldLayoutMkLst>
          <pc:spChg chg="add mod">
            <ac:chgData name="Hans Gelissen (DHL SSC Maastricht)" userId="1afa8510-4eed-4b73-a29e-678838cd8acd" providerId="ADAL" clId="{E6EBF5A5-CEC0-41D9-A58F-673413104E9E}" dt="2023-07-06T12:50:48.957" v="139"/>
            <ac:spMkLst>
              <pc:docMk/>
              <pc:sldMasterMk cId="380743489" sldId="2147483798"/>
              <pc:sldLayoutMk cId="2500544717" sldId="2147483987"/>
              <ac:spMk id="3" creationId="{C823575B-C790-C2DB-6228-287ECB97FFFB}"/>
            </ac:spMkLst>
          </pc:spChg>
        </pc:sldLayoutChg>
        <pc:sldLayoutChg chg="addSp modSp">
          <pc:chgData name="Hans Gelissen (DHL SSC Maastricht)" userId="1afa8510-4eed-4b73-a29e-678838cd8acd" providerId="ADAL" clId="{E6EBF5A5-CEC0-41D9-A58F-673413104E9E}" dt="2023-07-06T12:50:49.309" v="140"/>
          <pc:sldLayoutMkLst>
            <pc:docMk/>
            <pc:sldMasterMk cId="380743489" sldId="2147483798"/>
            <pc:sldLayoutMk cId="428352869" sldId="2147483988"/>
          </pc:sldLayoutMkLst>
          <pc:spChg chg="add mod">
            <ac:chgData name="Hans Gelissen (DHL SSC Maastricht)" userId="1afa8510-4eed-4b73-a29e-678838cd8acd" providerId="ADAL" clId="{E6EBF5A5-CEC0-41D9-A58F-673413104E9E}" dt="2023-07-06T12:50:49.309" v="140"/>
            <ac:spMkLst>
              <pc:docMk/>
              <pc:sldMasterMk cId="380743489" sldId="2147483798"/>
              <pc:sldLayoutMk cId="428352869" sldId="2147483988"/>
              <ac:spMk id="3" creationId="{FBE487E8-BF4E-BAA2-B76B-6EB8833951F4}"/>
            </ac:spMkLst>
          </pc:spChg>
        </pc:sldLayoutChg>
      </pc:sldMasterChg>
      <pc:sldMasterChg chg="addSp modSp modSldLayout">
        <pc:chgData name="Hans Gelissen (DHL SSC Maastricht)" userId="1afa8510-4eed-4b73-a29e-678838cd8acd" providerId="ADAL" clId="{E6EBF5A5-CEC0-41D9-A58F-673413104E9E}" dt="2023-07-06T12:51:03.285" v="166"/>
        <pc:sldMasterMkLst>
          <pc:docMk/>
          <pc:sldMasterMk cId="452284608" sldId="2147484031"/>
        </pc:sldMasterMkLst>
        <pc:spChg chg="add mod">
          <ac:chgData name="Hans Gelissen (DHL SSC Maastricht)" userId="1afa8510-4eed-4b73-a29e-678838cd8acd" providerId="ADAL" clId="{E6EBF5A5-CEC0-41D9-A58F-673413104E9E}" dt="2023-07-06T12:49:41.980" v="25"/>
          <ac:spMkLst>
            <pc:docMk/>
            <pc:sldMasterMk cId="452284608" sldId="2147484031"/>
            <ac:spMk id="2" creationId="{9CEC4539-0770-4346-1D8A-A0C33166C6FD}"/>
          </ac:spMkLst>
        </pc:spChg>
        <pc:sldLayoutChg chg="addSp modSp">
          <pc:chgData name="Hans Gelissen (DHL SSC Maastricht)" userId="1afa8510-4eed-4b73-a29e-678838cd8acd" providerId="ADAL" clId="{E6EBF5A5-CEC0-41D9-A58F-673413104E9E}" dt="2023-07-06T12:50:59.029" v="163"/>
          <pc:sldLayoutMkLst>
            <pc:docMk/>
            <pc:sldMasterMk cId="452284608" sldId="2147484031"/>
            <pc:sldLayoutMk cId="2137232494" sldId="2147484032"/>
          </pc:sldLayoutMkLst>
          <pc:spChg chg="add mod">
            <ac:chgData name="Hans Gelissen (DHL SSC Maastricht)" userId="1afa8510-4eed-4b73-a29e-678838cd8acd" providerId="ADAL" clId="{E6EBF5A5-CEC0-41D9-A58F-673413104E9E}" dt="2023-07-06T12:50:59.029" v="163"/>
            <ac:spMkLst>
              <pc:docMk/>
              <pc:sldMasterMk cId="452284608" sldId="2147484031"/>
              <pc:sldLayoutMk cId="2137232494" sldId="2147484032"/>
              <ac:spMk id="2" creationId="{7A53116B-0DCE-1C5F-C5E5-55EC2BF28036}"/>
            </ac:spMkLst>
          </pc:spChg>
        </pc:sldLayoutChg>
        <pc:sldLayoutChg chg="addSp modSp">
          <pc:chgData name="Hans Gelissen (DHL SSC Maastricht)" userId="1afa8510-4eed-4b73-a29e-678838cd8acd" providerId="ADAL" clId="{E6EBF5A5-CEC0-41D9-A58F-673413104E9E}" dt="2023-07-06T12:50:59.381" v="164"/>
          <pc:sldLayoutMkLst>
            <pc:docMk/>
            <pc:sldMasterMk cId="452284608" sldId="2147484031"/>
            <pc:sldLayoutMk cId="2987006883" sldId="2147484040"/>
          </pc:sldLayoutMkLst>
          <pc:spChg chg="add mod">
            <ac:chgData name="Hans Gelissen (DHL SSC Maastricht)" userId="1afa8510-4eed-4b73-a29e-678838cd8acd" providerId="ADAL" clId="{E6EBF5A5-CEC0-41D9-A58F-673413104E9E}" dt="2023-07-06T12:50:59.381" v="164"/>
            <ac:spMkLst>
              <pc:docMk/>
              <pc:sldMasterMk cId="452284608" sldId="2147484031"/>
              <pc:sldLayoutMk cId="2987006883" sldId="2147484040"/>
              <ac:spMk id="2" creationId="{193AF29C-77D2-4BDD-1BA5-79C6AF1BF0FA}"/>
            </ac:spMkLst>
          </pc:spChg>
        </pc:sldLayoutChg>
        <pc:sldLayoutChg chg="addSp modSp">
          <pc:chgData name="Hans Gelissen (DHL SSC Maastricht)" userId="1afa8510-4eed-4b73-a29e-678838cd8acd" providerId="ADAL" clId="{E6EBF5A5-CEC0-41D9-A58F-673413104E9E}" dt="2023-07-06T12:51:01.234" v="165"/>
          <pc:sldLayoutMkLst>
            <pc:docMk/>
            <pc:sldMasterMk cId="452284608" sldId="2147484031"/>
            <pc:sldLayoutMk cId="570420241" sldId="2147484045"/>
          </pc:sldLayoutMkLst>
          <pc:spChg chg="add mod">
            <ac:chgData name="Hans Gelissen (DHL SSC Maastricht)" userId="1afa8510-4eed-4b73-a29e-678838cd8acd" providerId="ADAL" clId="{E6EBF5A5-CEC0-41D9-A58F-673413104E9E}" dt="2023-07-06T12:51:01.234" v="165"/>
            <ac:spMkLst>
              <pc:docMk/>
              <pc:sldMasterMk cId="452284608" sldId="2147484031"/>
              <pc:sldLayoutMk cId="570420241" sldId="2147484045"/>
              <ac:spMk id="2" creationId="{10A0482F-0887-BFA4-D448-7EB9F55DA581}"/>
            </ac:spMkLst>
          </pc:spChg>
        </pc:sldLayoutChg>
        <pc:sldLayoutChg chg="addSp modSp">
          <pc:chgData name="Hans Gelissen (DHL SSC Maastricht)" userId="1afa8510-4eed-4b73-a29e-678838cd8acd" providerId="ADAL" clId="{E6EBF5A5-CEC0-41D9-A58F-673413104E9E}" dt="2023-07-06T12:51:03.285" v="166"/>
          <pc:sldLayoutMkLst>
            <pc:docMk/>
            <pc:sldMasterMk cId="452284608" sldId="2147484031"/>
            <pc:sldLayoutMk cId="3972595220" sldId="2147484046"/>
          </pc:sldLayoutMkLst>
          <pc:spChg chg="add mod">
            <ac:chgData name="Hans Gelissen (DHL SSC Maastricht)" userId="1afa8510-4eed-4b73-a29e-678838cd8acd" providerId="ADAL" clId="{E6EBF5A5-CEC0-41D9-A58F-673413104E9E}" dt="2023-07-06T12:51:03.285" v="166"/>
            <ac:spMkLst>
              <pc:docMk/>
              <pc:sldMasterMk cId="452284608" sldId="2147484031"/>
              <pc:sldLayoutMk cId="3972595220" sldId="2147484046"/>
              <ac:spMk id="2" creationId="{693DAB3C-5F3A-65DD-8D58-9102BF2DAD0D}"/>
            </ac:spMkLst>
          </pc:spChg>
        </pc:sldLayoutChg>
      </pc:sldMasterChg>
      <pc:sldMasterChg chg="addSp modSp modSldLayout">
        <pc:chgData name="Hans Gelissen (DHL SSC Maastricht)" userId="1afa8510-4eed-4b73-a29e-678838cd8acd" providerId="ADAL" clId="{E6EBF5A5-CEC0-41D9-A58F-673413104E9E}" dt="2023-07-06T12:49:55.564" v="30"/>
        <pc:sldMasterMkLst>
          <pc:docMk/>
          <pc:sldMasterMk cId="323497015" sldId="2147484033"/>
        </pc:sldMasterMkLst>
        <pc:spChg chg="add mod">
          <ac:chgData name="Hans Gelissen (DHL SSC Maastricht)" userId="1afa8510-4eed-4b73-a29e-678838cd8acd" providerId="ADAL" clId="{E6EBF5A5-CEC0-41D9-A58F-673413104E9E}" dt="2023-07-06T12:48:57.489" v="14"/>
          <ac:spMkLst>
            <pc:docMk/>
            <pc:sldMasterMk cId="323497015" sldId="2147484033"/>
            <ac:spMk id="2" creationId="{A2FDFC8A-5293-A7D9-BFBE-CBABD9D91C97}"/>
          </ac:spMkLst>
        </pc:spChg>
        <pc:sldLayoutChg chg="addSp modSp">
          <pc:chgData name="Hans Gelissen (DHL SSC Maastricht)" userId="1afa8510-4eed-4b73-a29e-678838cd8acd" providerId="ADAL" clId="{E6EBF5A5-CEC0-41D9-A58F-673413104E9E}" dt="2023-07-06T12:49:54.244" v="27"/>
          <pc:sldLayoutMkLst>
            <pc:docMk/>
            <pc:sldMasterMk cId="323497015" sldId="2147484033"/>
            <pc:sldLayoutMk cId="3607588471" sldId="2147484034"/>
          </pc:sldLayoutMkLst>
          <pc:spChg chg="add mod">
            <ac:chgData name="Hans Gelissen (DHL SSC Maastricht)" userId="1afa8510-4eed-4b73-a29e-678838cd8acd" providerId="ADAL" clId="{E6EBF5A5-CEC0-41D9-A58F-673413104E9E}" dt="2023-07-06T12:49:54.244" v="27"/>
            <ac:spMkLst>
              <pc:docMk/>
              <pc:sldMasterMk cId="323497015" sldId="2147484033"/>
              <pc:sldLayoutMk cId="3607588471" sldId="2147484034"/>
              <ac:spMk id="2" creationId="{06D8B8C4-5A07-05AB-EF70-0288123F7AFF}"/>
            </ac:spMkLst>
          </pc:spChg>
        </pc:sldLayoutChg>
        <pc:sldLayoutChg chg="addSp modSp">
          <pc:chgData name="Hans Gelissen (DHL SSC Maastricht)" userId="1afa8510-4eed-4b73-a29e-678838cd8acd" providerId="ADAL" clId="{E6EBF5A5-CEC0-41D9-A58F-673413104E9E}" dt="2023-07-06T12:49:55.564" v="30"/>
          <pc:sldLayoutMkLst>
            <pc:docMk/>
            <pc:sldMasterMk cId="323497015" sldId="2147484033"/>
            <pc:sldLayoutMk cId="1454208401" sldId="2147484035"/>
          </pc:sldLayoutMkLst>
          <pc:spChg chg="add mod">
            <ac:chgData name="Hans Gelissen (DHL SSC Maastricht)" userId="1afa8510-4eed-4b73-a29e-678838cd8acd" providerId="ADAL" clId="{E6EBF5A5-CEC0-41D9-A58F-673413104E9E}" dt="2023-07-06T12:49:55.564" v="30"/>
            <ac:spMkLst>
              <pc:docMk/>
              <pc:sldMasterMk cId="323497015" sldId="2147484033"/>
              <pc:sldLayoutMk cId="1454208401" sldId="2147484035"/>
              <ac:spMk id="2" creationId="{39039A88-022F-DA4D-A90C-074739E883F5}"/>
            </ac:spMkLst>
          </pc:spChg>
        </pc:sldLayoutChg>
        <pc:sldLayoutChg chg="addSp modSp">
          <pc:chgData name="Hans Gelissen (DHL SSC Maastricht)" userId="1afa8510-4eed-4b73-a29e-678838cd8acd" providerId="ADAL" clId="{E6EBF5A5-CEC0-41D9-A58F-673413104E9E}" dt="2023-07-06T12:49:54.931" v="28"/>
          <pc:sldLayoutMkLst>
            <pc:docMk/>
            <pc:sldMasterMk cId="323497015" sldId="2147484033"/>
            <pc:sldLayoutMk cId="715467645" sldId="2147484038"/>
          </pc:sldLayoutMkLst>
          <pc:spChg chg="add mod">
            <ac:chgData name="Hans Gelissen (DHL SSC Maastricht)" userId="1afa8510-4eed-4b73-a29e-678838cd8acd" providerId="ADAL" clId="{E6EBF5A5-CEC0-41D9-A58F-673413104E9E}" dt="2023-07-06T12:49:54.931" v="28"/>
            <ac:spMkLst>
              <pc:docMk/>
              <pc:sldMasterMk cId="323497015" sldId="2147484033"/>
              <pc:sldLayoutMk cId="715467645" sldId="2147484038"/>
              <ac:spMk id="5" creationId="{F2DF920D-BCAA-6EC7-36CB-6EC46C08082B}"/>
            </ac:spMkLst>
          </pc:spChg>
        </pc:sldLayoutChg>
        <pc:sldLayoutChg chg="addSp modSp">
          <pc:chgData name="Hans Gelissen (DHL SSC Maastricht)" userId="1afa8510-4eed-4b73-a29e-678838cd8acd" providerId="ADAL" clId="{E6EBF5A5-CEC0-41D9-A58F-673413104E9E}" dt="2023-07-06T12:49:55.256" v="29"/>
          <pc:sldLayoutMkLst>
            <pc:docMk/>
            <pc:sldMasterMk cId="323497015" sldId="2147484033"/>
            <pc:sldLayoutMk cId="2194012706" sldId="2147484039"/>
          </pc:sldLayoutMkLst>
          <pc:spChg chg="add mod">
            <ac:chgData name="Hans Gelissen (DHL SSC Maastricht)" userId="1afa8510-4eed-4b73-a29e-678838cd8acd" providerId="ADAL" clId="{E6EBF5A5-CEC0-41D9-A58F-673413104E9E}" dt="2023-07-06T12:49:55.256" v="29"/>
            <ac:spMkLst>
              <pc:docMk/>
              <pc:sldMasterMk cId="323497015" sldId="2147484033"/>
              <pc:sldLayoutMk cId="2194012706" sldId="2147484039"/>
              <ac:spMk id="5" creationId="{37507388-12F8-CBCE-7631-6A17DEAD69B1}"/>
            </ac:spMkLst>
          </pc:spChg>
        </pc:sldLayoutChg>
      </pc:sldMasterChg>
      <pc:sldMasterChg chg="addSp modSp modSldLayout">
        <pc:chgData name="Hans Gelissen (DHL SSC Maastricht)" userId="1afa8510-4eed-4b73-a29e-678838cd8acd" providerId="ADAL" clId="{E6EBF5A5-CEC0-41D9-A58F-673413104E9E}" dt="2023-07-06T12:51:06.153" v="168"/>
        <pc:sldMasterMkLst>
          <pc:docMk/>
          <pc:sldMasterMk cId="346234790" sldId="2147484036"/>
        </pc:sldMasterMkLst>
        <pc:spChg chg="add mod">
          <ac:chgData name="Hans Gelissen (DHL SSC Maastricht)" userId="1afa8510-4eed-4b73-a29e-678838cd8acd" providerId="ADAL" clId="{E6EBF5A5-CEC0-41D9-A58F-673413104E9E}" dt="2023-07-06T12:49:43.779" v="26"/>
          <ac:spMkLst>
            <pc:docMk/>
            <pc:sldMasterMk cId="346234790" sldId="2147484036"/>
            <ac:spMk id="2" creationId="{68620025-E788-06B2-67D5-944B6CAFE3E2}"/>
          </ac:spMkLst>
        </pc:spChg>
        <pc:sldLayoutChg chg="addSp modSp">
          <pc:chgData name="Hans Gelissen (DHL SSC Maastricht)" userId="1afa8510-4eed-4b73-a29e-678838cd8acd" providerId="ADAL" clId="{E6EBF5A5-CEC0-41D9-A58F-673413104E9E}" dt="2023-07-06T12:51:05.573" v="167"/>
          <pc:sldLayoutMkLst>
            <pc:docMk/>
            <pc:sldMasterMk cId="346234790" sldId="2147484036"/>
            <pc:sldLayoutMk cId="3570524635" sldId="2147484037"/>
          </pc:sldLayoutMkLst>
          <pc:spChg chg="add mod">
            <ac:chgData name="Hans Gelissen (DHL SSC Maastricht)" userId="1afa8510-4eed-4b73-a29e-678838cd8acd" providerId="ADAL" clId="{E6EBF5A5-CEC0-41D9-A58F-673413104E9E}" dt="2023-07-06T12:51:05.573" v="167"/>
            <ac:spMkLst>
              <pc:docMk/>
              <pc:sldMasterMk cId="346234790" sldId="2147484036"/>
              <pc:sldLayoutMk cId="3570524635" sldId="2147484037"/>
              <ac:spMk id="2" creationId="{21F895C6-F625-2FDA-FCFB-E78863732EDD}"/>
            </ac:spMkLst>
          </pc:spChg>
        </pc:sldLayoutChg>
        <pc:sldLayoutChg chg="addSp modSp">
          <pc:chgData name="Hans Gelissen (DHL SSC Maastricht)" userId="1afa8510-4eed-4b73-a29e-678838cd8acd" providerId="ADAL" clId="{E6EBF5A5-CEC0-41D9-A58F-673413104E9E}" dt="2023-07-06T12:51:06.153" v="168"/>
          <pc:sldLayoutMkLst>
            <pc:docMk/>
            <pc:sldMasterMk cId="346234790" sldId="2147484036"/>
            <pc:sldLayoutMk cId="1475199376" sldId="2147484041"/>
          </pc:sldLayoutMkLst>
          <pc:spChg chg="add mod">
            <ac:chgData name="Hans Gelissen (DHL SSC Maastricht)" userId="1afa8510-4eed-4b73-a29e-678838cd8acd" providerId="ADAL" clId="{E6EBF5A5-CEC0-41D9-A58F-673413104E9E}" dt="2023-07-06T12:51:06.153" v="168"/>
            <ac:spMkLst>
              <pc:docMk/>
              <pc:sldMasterMk cId="346234790" sldId="2147484036"/>
              <pc:sldLayoutMk cId="1475199376" sldId="2147484041"/>
              <ac:spMk id="2" creationId="{4FE98FED-2912-D6D5-B955-3E54DEF8F1F9}"/>
            </ac:spMkLst>
          </pc:spChg>
        </pc:sldLayoutChg>
      </pc:sldMasterChg>
    </pc:docChg>
  </pc:docChgLst>
  <pc:docChgLst>
    <pc:chgData name="Bente De Rijke (DHL SSC Maastricht)" userId="475646eb-b23c-43c0-b2ae-71e1fde9b74e" providerId="ADAL" clId="{B70C3BC1-5514-4883-86A5-223718E310E1}"/>
    <pc:docChg chg="undo custSel addSld modSld">
      <pc:chgData name="Bente De Rijke (DHL SSC Maastricht)" userId="475646eb-b23c-43c0-b2ae-71e1fde9b74e" providerId="ADAL" clId="{B70C3BC1-5514-4883-86A5-223718E310E1}" dt="2023-07-14T16:55:22.076" v="6" actId="20577"/>
      <pc:docMkLst>
        <pc:docMk/>
      </pc:docMkLst>
      <pc:sldChg chg="modSp mod">
        <pc:chgData name="Bente De Rijke (DHL SSC Maastricht)" userId="475646eb-b23c-43c0-b2ae-71e1fde9b74e" providerId="ADAL" clId="{B70C3BC1-5514-4883-86A5-223718E310E1}" dt="2023-07-12T10:00:37.293" v="0" actId="6549"/>
        <pc:sldMkLst>
          <pc:docMk/>
          <pc:sldMk cId="2338473233" sldId="258"/>
        </pc:sldMkLst>
        <pc:spChg chg="mod">
          <ac:chgData name="Bente De Rijke (DHL SSC Maastricht)" userId="475646eb-b23c-43c0-b2ae-71e1fde9b74e" providerId="ADAL" clId="{B70C3BC1-5514-4883-86A5-223718E310E1}" dt="2023-07-12T10:00:37.293" v="0" actId="6549"/>
          <ac:spMkLst>
            <pc:docMk/>
            <pc:sldMk cId="2338473233" sldId="258"/>
            <ac:spMk id="13" creationId="{08A47195-4824-4907-8AE9-D7AD4BE08E28}"/>
          </ac:spMkLst>
        </pc:spChg>
      </pc:sldChg>
      <pc:sldChg chg="modSp add mod">
        <pc:chgData name="Bente De Rijke (DHL SSC Maastricht)" userId="475646eb-b23c-43c0-b2ae-71e1fde9b74e" providerId="ADAL" clId="{B70C3BC1-5514-4883-86A5-223718E310E1}" dt="2023-07-14T16:55:22.076" v="6" actId="20577"/>
        <pc:sldMkLst>
          <pc:docMk/>
          <pc:sldMk cId="133774027" sldId="442"/>
        </pc:sldMkLst>
        <pc:spChg chg="mod">
          <ac:chgData name="Bente De Rijke (DHL SSC Maastricht)" userId="475646eb-b23c-43c0-b2ae-71e1fde9b74e" providerId="ADAL" clId="{B70C3BC1-5514-4883-86A5-223718E310E1}" dt="2023-07-14T16:55:22.076" v="6" actId="20577"/>
          <ac:spMkLst>
            <pc:docMk/>
            <pc:sldMk cId="133774027" sldId="442"/>
            <ac:spMk id="2" creationId="{AC1580AF-D177-59C1-BE86-3236D160B2B7}"/>
          </ac:spMkLst>
        </pc:spChg>
      </pc:sldChg>
      <pc:sldChg chg="addSp delSp mod">
        <pc:chgData name="Bente De Rijke (DHL SSC Maastricht)" userId="475646eb-b23c-43c0-b2ae-71e1fde9b74e" providerId="ADAL" clId="{B70C3BC1-5514-4883-86A5-223718E310E1}" dt="2023-07-14T16:48:42.935" v="2" actId="22"/>
        <pc:sldMkLst>
          <pc:docMk/>
          <pc:sldMk cId="1821634311" sldId="445"/>
        </pc:sldMkLst>
        <pc:spChg chg="add del">
          <ac:chgData name="Bente De Rijke (DHL SSC Maastricht)" userId="475646eb-b23c-43c0-b2ae-71e1fde9b74e" providerId="ADAL" clId="{B70C3BC1-5514-4883-86A5-223718E310E1}" dt="2023-07-14T16:48:42.935" v="2" actId="22"/>
          <ac:spMkLst>
            <pc:docMk/>
            <pc:sldMk cId="1821634311" sldId="445"/>
            <ac:spMk id="8" creationId="{3476281B-DAA8-0C41-D74C-24B5987467B0}"/>
          </ac:spMkLst>
        </pc:spChg>
      </pc:sldChg>
    </pc:docChg>
  </pc:docChgLst>
  <pc:docChgLst>
    <pc:chgData name="Bente" userId="475646eb-b23c-43c0-b2ae-71e1fde9b74e" providerId="ADAL" clId="{B70C3BC1-5514-4883-86A5-223718E310E1}"/>
    <pc:docChg chg="custSel delSld modSld">
      <pc:chgData name="Bente" userId="475646eb-b23c-43c0-b2ae-71e1fde9b74e" providerId="ADAL" clId="{B70C3BC1-5514-4883-86A5-223718E310E1}" dt="2023-07-10T20:14:11.545" v="21" actId="6549"/>
      <pc:docMkLst>
        <pc:docMk/>
      </pc:docMkLst>
      <pc:sldChg chg="modSp mod">
        <pc:chgData name="Bente" userId="475646eb-b23c-43c0-b2ae-71e1fde9b74e" providerId="ADAL" clId="{B70C3BC1-5514-4883-86A5-223718E310E1}" dt="2023-07-10T18:59:34.385" v="12" actId="6549"/>
        <pc:sldMkLst>
          <pc:docMk/>
          <pc:sldMk cId="2338473233" sldId="258"/>
        </pc:sldMkLst>
        <pc:spChg chg="mod">
          <ac:chgData name="Bente" userId="475646eb-b23c-43c0-b2ae-71e1fde9b74e" providerId="ADAL" clId="{B70C3BC1-5514-4883-86A5-223718E310E1}" dt="2023-07-10T18:59:34.385" v="12" actId="6549"/>
          <ac:spMkLst>
            <pc:docMk/>
            <pc:sldMk cId="2338473233" sldId="258"/>
            <ac:spMk id="13" creationId="{08A47195-4824-4907-8AE9-D7AD4BE08E28}"/>
          </ac:spMkLst>
        </pc:spChg>
      </pc:sldChg>
      <pc:sldChg chg="del">
        <pc:chgData name="Bente" userId="475646eb-b23c-43c0-b2ae-71e1fde9b74e" providerId="ADAL" clId="{B70C3BC1-5514-4883-86A5-223718E310E1}" dt="2023-07-10T18:59:59.832" v="17" actId="47"/>
        <pc:sldMkLst>
          <pc:docMk/>
          <pc:sldMk cId="2550961965" sldId="309"/>
        </pc:sldMkLst>
      </pc:sldChg>
      <pc:sldChg chg="del">
        <pc:chgData name="Bente" userId="475646eb-b23c-43c0-b2ae-71e1fde9b74e" providerId="ADAL" clId="{B70C3BC1-5514-4883-86A5-223718E310E1}" dt="2023-07-10T18:59:59.832" v="17" actId="47"/>
        <pc:sldMkLst>
          <pc:docMk/>
          <pc:sldMk cId="929641217" sldId="328"/>
        </pc:sldMkLst>
      </pc:sldChg>
      <pc:sldChg chg="del">
        <pc:chgData name="Bente" userId="475646eb-b23c-43c0-b2ae-71e1fde9b74e" providerId="ADAL" clId="{B70C3BC1-5514-4883-86A5-223718E310E1}" dt="2023-07-10T18:59:59.832" v="17" actId="47"/>
        <pc:sldMkLst>
          <pc:docMk/>
          <pc:sldMk cId="4183983429" sldId="398"/>
        </pc:sldMkLst>
      </pc:sldChg>
      <pc:sldChg chg="del">
        <pc:chgData name="Bente" userId="475646eb-b23c-43c0-b2ae-71e1fde9b74e" providerId="ADAL" clId="{B70C3BC1-5514-4883-86A5-223718E310E1}" dt="2023-07-10T18:59:59.832" v="17" actId="47"/>
        <pc:sldMkLst>
          <pc:docMk/>
          <pc:sldMk cId="1225953100" sldId="399"/>
        </pc:sldMkLst>
      </pc:sldChg>
      <pc:sldChg chg="del">
        <pc:chgData name="Bente" userId="475646eb-b23c-43c0-b2ae-71e1fde9b74e" providerId="ADAL" clId="{B70C3BC1-5514-4883-86A5-223718E310E1}" dt="2023-07-10T18:59:59.832" v="17" actId="47"/>
        <pc:sldMkLst>
          <pc:docMk/>
          <pc:sldMk cId="727505858" sldId="402"/>
        </pc:sldMkLst>
      </pc:sldChg>
      <pc:sldChg chg="modSp mod">
        <pc:chgData name="Bente" userId="475646eb-b23c-43c0-b2ae-71e1fde9b74e" providerId="ADAL" clId="{B70C3BC1-5514-4883-86A5-223718E310E1}" dt="2023-07-10T20:14:11.545" v="21" actId="6549"/>
        <pc:sldMkLst>
          <pc:docMk/>
          <pc:sldMk cId="1152412950" sldId="421"/>
        </pc:sldMkLst>
        <pc:spChg chg="mod">
          <ac:chgData name="Bente" userId="475646eb-b23c-43c0-b2ae-71e1fde9b74e" providerId="ADAL" clId="{B70C3BC1-5514-4883-86A5-223718E310E1}" dt="2023-07-10T20:14:11.545" v="21" actId="6549"/>
          <ac:spMkLst>
            <pc:docMk/>
            <pc:sldMk cId="1152412950" sldId="421"/>
            <ac:spMk id="5" creationId="{E79BE60A-CDBD-869C-4683-207046B2F5B7}"/>
          </ac:spMkLst>
        </pc:spChg>
      </pc:sldChg>
      <pc:sldChg chg="modSp mod">
        <pc:chgData name="Bente" userId="475646eb-b23c-43c0-b2ae-71e1fde9b74e" providerId="ADAL" clId="{B70C3BC1-5514-4883-86A5-223718E310E1}" dt="2023-07-10T20:05:14.806" v="20" actId="6549"/>
        <pc:sldMkLst>
          <pc:docMk/>
          <pc:sldMk cId="1596748458" sldId="424"/>
        </pc:sldMkLst>
        <pc:spChg chg="mod">
          <ac:chgData name="Bente" userId="475646eb-b23c-43c0-b2ae-71e1fde9b74e" providerId="ADAL" clId="{B70C3BC1-5514-4883-86A5-223718E310E1}" dt="2023-07-10T20:05:14.806" v="20" actId="6549"/>
          <ac:spMkLst>
            <pc:docMk/>
            <pc:sldMk cId="1596748458" sldId="424"/>
            <ac:spMk id="5" creationId="{E79BE60A-CDBD-869C-4683-207046B2F5B7}"/>
          </ac:spMkLst>
        </pc:spChg>
      </pc:sldChg>
      <pc:sldChg chg="del">
        <pc:chgData name="Bente" userId="475646eb-b23c-43c0-b2ae-71e1fde9b74e" providerId="ADAL" clId="{B70C3BC1-5514-4883-86A5-223718E310E1}" dt="2023-07-10T18:59:59.832" v="17" actId="47"/>
        <pc:sldMkLst>
          <pc:docMk/>
          <pc:sldMk cId="3607206148" sldId="431"/>
        </pc:sldMkLst>
      </pc:sldChg>
      <pc:sldChg chg="del">
        <pc:chgData name="Bente" userId="475646eb-b23c-43c0-b2ae-71e1fde9b74e" providerId="ADAL" clId="{B70C3BC1-5514-4883-86A5-223718E310E1}" dt="2023-07-10T18:59:59.832" v="17" actId="47"/>
        <pc:sldMkLst>
          <pc:docMk/>
          <pc:sldMk cId="3584312661" sldId="432"/>
        </pc:sldMkLst>
      </pc:sldChg>
      <pc:sldChg chg="del">
        <pc:chgData name="Bente" userId="475646eb-b23c-43c0-b2ae-71e1fde9b74e" providerId="ADAL" clId="{B70C3BC1-5514-4883-86A5-223718E310E1}" dt="2023-07-10T18:59:59.832" v="17" actId="47"/>
        <pc:sldMkLst>
          <pc:docMk/>
          <pc:sldMk cId="3640229747" sldId="433"/>
        </pc:sldMkLst>
      </pc:sldChg>
      <pc:sldChg chg="del">
        <pc:chgData name="Bente" userId="475646eb-b23c-43c0-b2ae-71e1fde9b74e" providerId="ADAL" clId="{B70C3BC1-5514-4883-86A5-223718E310E1}" dt="2023-07-10T18:59:59.832" v="17" actId="47"/>
        <pc:sldMkLst>
          <pc:docMk/>
          <pc:sldMk cId="1272404253" sldId="434"/>
        </pc:sldMkLst>
      </pc:sldChg>
      <pc:sldChg chg="del">
        <pc:chgData name="Bente" userId="475646eb-b23c-43c0-b2ae-71e1fde9b74e" providerId="ADAL" clId="{B70C3BC1-5514-4883-86A5-223718E310E1}" dt="2023-07-10T18:59:59.832" v="17" actId="47"/>
        <pc:sldMkLst>
          <pc:docMk/>
          <pc:sldMk cId="3424008277" sldId="435"/>
        </pc:sldMkLst>
      </pc:sldChg>
      <pc:sldChg chg="del">
        <pc:chgData name="Bente" userId="475646eb-b23c-43c0-b2ae-71e1fde9b74e" providerId="ADAL" clId="{B70C3BC1-5514-4883-86A5-223718E310E1}" dt="2023-07-10T18:59:59.832" v="17" actId="47"/>
        <pc:sldMkLst>
          <pc:docMk/>
          <pc:sldMk cId="398318349" sldId="438"/>
        </pc:sldMkLst>
      </pc:sldChg>
      <pc:sldChg chg="del">
        <pc:chgData name="Bente" userId="475646eb-b23c-43c0-b2ae-71e1fde9b74e" providerId="ADAL" clId="{B70C3BC1-5514-4883-86A5-223718E310E1}" dt="2023-07-10T18:59:59.832" v="17" actId="47"/>
        <pc:sldMkLst>
          <pc:docMk/>
          <pc:sldMk cId="3173958902" sldId="440"/>
        </pc:sldMkLst>
      </pc:sldChg>
      <pc:sldChg chg="del">
        <pc:chgData name="Bente" userId="475646eb-b23c-43c0-b2ae-71e1fde9b74e" providerId="ADAL" clId="{B70C3BC1-5514-4883-86A5-223718E310E1}" dt="2023-07-10T18:59:59.832" v="17" actId="47"/>
        <pc:sldMkLst>
          <pc:docMk/>
          <pc:sldMk cId="231696206" sldId="441"/>
        </pc:sldMkLst>
      </pc:sldChg>
      <pc:sldChg chg="del">
        <pc:chgData name="Bente" userId="475646eb-b23c-43c0-b2ae-71e1fde9b74e" providerId="ADAL" clId="{B70C3BC1-5514-4883-86A5-223718E310E1}" dt="2023-07-10T18:59:59.832" v="17" actId="47"/>
        <pc:sldMkLst>
          <pc:docMk/>
          <pc:sldMk cId="1787218991" sldId="442"/>
        </pc:sldMkLst>
      </pc:sldChg>
      <pc:sldChg chg="addSp delSp modSp mod">
        <pc:chgData name="Bente" userId="475646eb-b23c-43c0-b2ae-71e1fde9b74e" providerId="ADAL" clId="{B70C3BC1-5514-4883-86A5-223718E310E1}" dt="2023-07-10T18:59:47.548" v="16" actId="1076"/>
        <pc:sldMkLst>
          <pc:docMk/>
          <pc:sldMk cId="1456632051" sldId="446"/>
        </pc:sldMkLst>
        <pc:spChg chg="del">
          <ac:chgData name="Bente" userId="475646eb-b23c-43c0-b2ae-71e1fde9b74e" providerId="ADAL" clId="{B70C3BC1-5514-4883-86A5-223718E310E1}" dt="2023-07-10T18:59:43.249" v="14" actId="478"/>
          <ac:spMkLst>
            <pc:docMk/>
            <pc:sldMk cId="1456632051" sldId="446"/>
            <ac:spMk id="2" creationId="{486D12AC-46F8-1749-3AD0-79258AF1D324}"/>
          </ac:spMkLst>
        </pc:spChg>
        <pc:spChg chg="del">
          <ac:chgData name="Bente" userId="475646eb-b23c-43c0-b2ae-71e1fde9b74e" providerId="ADAL" clId="{B70C3BC1-5514-4883-86A5-223718E310E1}" dt="2023-07-10T18:59:41.945" v="13" actId="478"/>
          <ac:spMkLst>
            <pc:docMk/>
            <pc:sldMk cId="1456632051" sldId="446"/>
            <ac:spMk id="3" creationId="{E9505191-D401-4B1F-A0FD-9DA8DF3EA35C}"/>
          </ac:spMkLst>
        </pc:spChg>
        <pc:spChg chg="mod">
          <ac:chgData name="Bente" userId="475646eb-b23c-43c0-b2ae-71e1fde9b74e" providerId="ADAL" clId="{B70C3BC1-5514-4883-86A5-223718E310E1}" dt="2023-07-10T18:59:47.548" v="16" actId="1076"/>
          <ac:spMkLst>
            <pc:docMk/>
            <pc:sldMk cId="1456632051" sldId="446"/>
            <ac:spMk id="4" creationId="{CF6CC01A-D8F6-4AE1-A79C-B9423066DA29}"/>
          </ac:spMkLst>
        </pc:spChg>
        <pc:spChg chg="add del mod">
          <ac:chgData name="Bente" userId="475646eb-b23c-43c0-b2ae-71e1fde9b74e" providerId="ADAL" clId="{B70C3BC1-5514-4883-86A5-223718E310E1}" dt="2023-07-10T18:59:44.412" v="15" actId="478"/>
          <ac:spMkLst>
            <pc:docMk/>
            <pc:sldMk cId="1456632051" sldId="446"/>
            <ac:spMk id="7" creationId="{57420B17-0F30-D830-2092-F7EA1881659A}"/>
          </ac:spMkLst>
        </pc:spChg>
      </pc:sldChg>
      <pc:sldMasterChg chg="delSldLayout">
        <pc:chgData name="Bente" userId="475646eb-b23c-43c0-b2ae-71e1fde9b74e" providerId="ADAL" clId="{B70C3BC1-5514-4883-86A5-223718E310E1}" dt="2023-07-10T18:59:59.832" v="17" actId="47"/>
        <pc:sldMasterMkLst>
          <pc:docMk/>
          <pc:sldMasterMk cId="2253695231" sldId="2147483754"/>
        </pc:sldMasterMkLst>
        <pc:sldLayoutChg chg="del">
          <pc:chgData name="Bente" userId="475646eb-b23c-43c0-b2ae-71e1fde9b74e" providerId="ADAL" clId="{B70C3BC1-5514-4883-86A5-223718E310E1}" dt="2023-07-10T18:59:59.832" v="17" actId="47"/>
          <pc:sldLayoutMkLst>
            <pc:docMk/>
            <pc:sldMasterMk cId="2253695231" sldId="2147483754"/>
            <pc:sldLayoutMk cId="3898754725" sldId="2147484042"/>
          </pc:sldLayoutMkLst>
        </pc:sldLayoutChg>
        <pc:sldLayoutChg chg="del">
          <pc:chgData name="Bente" userId="475646eb-b23c-43c0-b2ae-71e1fde9b74e" providerId="ADAL" clId="{B70C3BC1-5514-4883-86A5-223718E310E1}" dt="2023-07-10T18:59:59.832" v="17" actId="47"/>
          <pc:sldLayoutMkLst>
            <pc:docMk/>
            <pc:sldMasterMk cId="2253695231" sldId="2147483754"/>
            <pc:sldLayoutMk cId="2612442982" sldId="2147484043"/>
          </pc:sldLayoutMkLst>
        </pc:sldLayoutChg>
        <pc:sldLayoutChg chg="del">
          <pc:chgData name="Bente" userId="475646eb-b23c-43c0-b2ae-71e1fde9b74e" providerId="ADAL" clId="{B70C3BC1-5514-4883-86A5-223718E310E1}" dt="2023-07-10T18:59:59.832" v="17" actId="47"/>
          <pc:sldLayoutMkLst>
            <pc:docMk/>
            <pc:sldMasterMk cId="2253695231" sldId="2147483754"/>
            <pc:sldLayoutMk cId="1151233661" sldId="2147484044"/>
          </pc:sldLayoutMkLst>
        </pc:sldLayoutChg>
      </pc:sldMasterChg>
    </pc:docChg>
  </pc:docChgLst>
  <pc:docChgLst>
    <pc:chgData name="Bente De Rijke (DHL SSC Maastricht)" userId="475646eb-b23c-43c0-b2ae-71e1fde9b74e" providerId="ADAL" clId="{F28DB440-ADF2-4205-9C03-032A231D6973}"/>
    <pc:docChg chg="custSel addSld delSld modSld">
      <pc:chgData name="Bente De Rijke (DHL SSC Maastricht)" userId="475646eb-b23c-43c0-b2ae-71e1fde9b74e" providerId="ADAL" clId="{F28DB440-ADF2-4205-9C03-032A231D6973}" dt="2023-06-22T08:00:28.766" v="98" actId="478"/>
      <pc:docMkLst>
        <pc:docMk/>
      </pc:docMkLst>
      <pc:sldChg chg="del">
        <pc:chgData name="Bente De Rijke (DHL SSC Maastricht)" userId="475646eb-b23c-43c0-b2ae-71e1fde9b74e" providerId="ADAL" clId="{F28DB440-ADF2-4205-9C03-032A231D6973}" dt="2023-05-24T12:57:22.768" v="1" actId="47"/>
        <pc:sldMkLst>
          <pc:docMk/>
          <pc:sldMk cId="1852155912" sldId="288"/>
        </pc:sldMkLst>
      </pc:sldChg>
      <pc:sldChg chg="modSp mod">
        <pc:chgData name="Bente De Rijke (DHL SSC Maastricht)" userId="475646eb-b23c-43c0-b2ae-71e1fde9b74e" providerId="ADAL" clId="{F28DB440-ADF2-4205-9C03-032A231D6973}" dt="2023-05-28T14:57:05.773" v="96"/>
        <pc:sldMkLst>
          <pc:docMk/>
          <pc:sldMk cId="929641217" sldId="328"/>
        </pc:sldMkLst>
        <pc:spChg chg="mod">
          <ac:chgData name="Bente De Rijke (DHL SSC Maastricht)" userId="475646eb-b23c-43c0-b2ae-71e1fde9b74e" providerId="ADAL" clId="{F28DB440-ADF2-4205-9C03-032A231D6973}" dt="2023-05-28T14:57:05.773" v="96"/>
          <ac:spMkLst>
            <pc:docMk/>
            <pc:sldMk cId="929641217" sldId="328"/>
            <ac:spMk id="2" creationId="{87113EF7-E0C1-C8F4-2CA0-AEE3DE5CF4B0}"/>
          </ac:spMkLst>
        </pc:spChg>
      </pc:sldChg>
      <pc:sldChg chg="modSp mod">
        <pc:chgData name="Bente De Rijke (DHL SSC Maastricht)" userId="475646eb-b23c-43c0-b2ae-71e1fde9b74e" providerId="ADAL" clId="{F28DB440-ADF2-4205-9C03-032A231D6973}" dt="2023-05-26T16:34:22.676" v="93" actId="1076"/>
        <pc:sldMkLst>
          <pc:docMk/>
          <pc:sldMk cId="744229540" sldId="416"/>
        </pc:sldMkLst>
        <pc:spChg chg="mod">
          <ac:chgData name="Bente De Rijke (DHL SSC Maastricht)" userId="475646eb-b23c-43c0-b2ae-71e1fde9b74e" providerId="ADAL" clId="{F28DB440-ADF2-4205-9C03-032A231D6973}" dt="2023-05-26T16:34:15.645" v="92" actId="6549"/>
          <ac:spMkLst>
            <pc:docMk/>
            <pc:sldMk cId="744229540" sldId="416"/>
            <ac:spMk id="10" creationId="{9F482F38-CB6C-FC92-3ACF-B6DDA541BB3D}"/>
          </ac:spMkLst>
        </pc:spChg>
        <pc:graphicFrameChg chg="mod">
          <ac:chgData name="Bente De Rijke (DHL SSC Maastricht)" userId="475646eb-b23c-43c0-b2ae-71e1fde9b74e" providerId="ADAL" clId="{F28DB440-ADF2-4205-9C03-032A231D6973}" dt="2023-05-26T16:34:22.676" v="93" actId="1076"/>
          <ac:graphicFrameMkLst>
            <pc:docMk/>
            <pc:sldMk cId="744229540" sldId="416"/>
            <ac:graphicFrameMk id="3" creationId="{AF116572-6F33-0D81-6F46-330B86383BF7}"/>
          </ac:graphicFrameMkLst>
        </pc:graphicFrameChg>
      </pc:sldChg>
      <pc:sldChg chg="delCm">
        <pc:chgData name="Bente De Rijke (DHL SSC Maastricht)" userId="475646eb-b23c-43c0-b2ae-71e1fde9b74e" providerId="ADAL" clId="{F28DB440-ADF2-4205-9C03-032A231D6973}" dt="2023-05-26T16:24:25.470" v="2"/>
        <pc:sldMkLst>
          <pc:docMk/>
          <pc:sldMk cId="3640229747" sldId="433"/>
        </pc:sldMkLst>
      </pc:sldChg>
      <pc:sldChg chg="addSp delSp modSp mod">
        <pc:chgData name="Bente De Rijke (DHL SSC Maastricht)" userId="475646eb-b23c-43c0-b2ae-71e1fde9b74e" providerId="ADAL" clId="{F28DB440-ADF2-4205-9C03-032A231D6973}" dt="2023-06-22T08:00:28.766" v="98" actId="478"/>
        <pc:sldMkLst>
          <pc:docMk/>
          <pc:sldMk cId="231696206" sldId="441"/>
        </pc:sldMkLst>
        <pc:spChg chg="add del mod">
          <ac:chgData name="Bente De Rijke (DHL SSC Maastricht)" userId="475646eb-b23c-43c0-b2ae-71e1fde9b74e" providerId="ADAL" clId="{F28DB440-ADF2-4205-9C03-032A231D6973}" dt="2023-06-22T08:00:28.766" v="98" actId="478"/>
          <ac:spMkLst>
            <pc:docMk/>
            <pc:sldMk cId="231696206" sldId="441"/>
            <ac:spMk id="3" creationId="{6CD9FE4C-FCAC-43D1-5244-E6C6E6242909}"/>
          </ac:spMkLst>
        </pc:spChg>
      </pc:sldChg>
      <pc:sldChg chg="modSp mod">
        <pc:chgData name="Bente De Rijke (DHL SSC Maastricht)" userId="475646eb-b23c-43c0-b2ae-71e1fde9b74e" providerId="ADAL" clId="{F28DB440-ADF2-4205-9C03-032A231D6973}" dt="2023-05-26T16:32:35.343" v="88" actId="20577"/>
        <pc:sldMkLst>
          <pc:docMk/>
          <pc:sldMk cId="2746475387" sldId="443"/>
        </pc:sldMkLst>
        <pc:spChg chg="mod">
          <ac:chgData name="Bente De Rijke (DHL SSC Maastricht)" userId="475646eb-b23c-43c0-b2ae-71e1fde9b74e" providerId="ADAL" clId="{F28DB440-ADF2-4205-9C03-032A231D6973}" dt="2023-05-26T16:32:35.343" v="88" actId="20577"/>
          <ac:spMkLst>
            <pc:docMk/>
            <pc:sldMk cId="2746475387" sldId="443"/>
            <ac:spMk id="10" creationId="{9F482F38-CB6C-FC92-3ACF-B6DDA541BB3D}"/>
          </ac:spMkLst>
        </pc:spChg>
        <pc:graphicFrameChg chg="modGraphic">
          <ac:chgData name="Bente De Rijke (DHL SSC Maastricht)" userId="475646eb-b23c-43c0-b2ae-71e1fde9b74e" providerId="ADAL" clId="{F28DB440-ADF2-4205-9C03-032A231D6973}" dt="2023-05-26T16:31:51.922" v="39" actId="20577"/>
          <ac:graphicFrameMkLst>
            <pc:docMk/>
            <pc:sldMk cId="2746475387" sldId="443"/>
            <ac:graphicFrameMk id="5" creationId="{AED52628-4E1D-44B9-85F1-7EDD51603301}"/>
          </ac:graphicFrameMkLst>
        </pc:graphicFrameChg>
      </pc:sldChg>
      <pc:sldChg chg="modSp mod">
        <pc:chgData name="Bente De Rijke (DHL SSC Maastricht)" userId="475646eb-b23c-43c0-b2ae-71e1fde9b74e" providerId="ADAL" clId="{F28DB440-ADF2-4205-9C03-032A231D6973}" dt="2023-05-26T16:35:00.376" v="95"/>
        <pc:sldMkLst>
          <pc:docMk/>
          <pc:sldMk cId="1821634311" sldId="445"/>
        </pc:sldMkLst>
        <pc:spChg chg="mod">
          <ac:chgData name="Bente De Rijke (DHL SSC Maastricht)" userId="475646eb-b23c-43c0-b2ae-71e1fde9b74e" providerId="ADAL" clId="{F28DB440-ADF2-4205-9C03-032A231D6973}" dt="2023-05-26T16:35:00.376" v="95"/>
          <ac:spMkLst>
            <pc:docMk/>
            <pc:sldMk cId="1821634311" sldId="445"/>
            <ac:spMk id="10" creationId="{9F482F38-CB6C-FC92-3ACF-B6DDA541BB3D}"/>
          </ac:spMkLst>
        </pc:spChg>
      </pc:sldChg>
      <pc:sldChg chg="add">
        <pc:chgData name="Bente De Rijke (DHL SSC Maastricht)" userId="475646eb-b23c-43c0-b2ae-71e1fde9b74e" providerId="ADAL" clId="{F28DB440-ADF2-4205-9C03-032A231D6973}" dt="2023-05-24T12:57:18.139" v="0"/>
        <pc:sldMkLst>
          <pc:docMk/>
          <pc:sldMk cId="1456632051" sldId="446"/>
        </pc:sldMkLst>
      </pc:sldChg>
    </pc:docChg>
  </pc:docChgLst>
  <pc:docChgLst>
    <pc:chgData name="Hans Gelissen (DHL SSC Maastricht)" userId="1afa8510-4eed-4b73-a29e-678838cd8acd" providerId="ADAL" clId="{4115B80A-68E3-4082-B4A0-52601A5B3EAB}"/>
    <pc:docChg chg="custSel modSld modMainMaster">
      <pc:chgData name="Hans Gelissen (DHL SSC Maastricht)" userId="1afa8510-4eed-4b73-a29e-678838cd8acd" providerId="ADAL" clId="{4115B80A-68E3-4082-B4A0-52601A5B3EAB}" dt="2023-06-30T15:16:04.962" v="16" actId="478"/>
      <pc:docMkLst>
        <pc:docMk/>
      </pc:docMkLst>
      <pc:sldChg chg="addSp delSp modSp mod modClrScheme chgLayout">
        <pc:chgData name="Hans Gelissen (DHL SSC Maastricht)" userId="1afa8510-4eed-4b73-a29e-678838cd8acd" providerId="ADAL" clId="{4115B80A-68E3-4082-B4A0-52601A5B3EAB}" dt="2023-06-30T15:16:04.962" v="16" actId="478"/>
        <pc:sldMkLst>
          <pc:docMk/>
          <pc:sldMk cId="3424008277" sldId="435"/>
        </pc:sldMkLst>
        <pc:spChg chg="mod ord">
          <ac:chgData name="Hans Gelissen (DHL SSC Maastricht)" userId="1afa8510-4eed-4b73-a29e-678838cd8acd" providerId="ADAL" clId="{4115B80A-68E3-4082-B4A0-52601A5B3EAB}" dt="2023-06-30T15:16:01.603" v="15" actId="700"/>
          <ac:spMkLst>
            <pc:docMk/>
            <pc:sldMk cId="3424008277" sldId="435"/>
            <ac:spMk id="2" creationId="{EA6311F4-788F-B009-6145-B306FA7D9BB2}"/>
          </ac:spMkLst>
        </pc:spChg>
        <pc:spChg chg="add del mod ord">
          <ac:chgData name="Hans Gelissen (DHL SSC Maastricht)" userId="1afa8510-4eed-4b73-a29e-678838cd8acd" providerId="ADAL" clId="{4115B80A-68E3-4082-B4A0-52601A5B3EAB}" dt="2023-06-30T15:16:04.962" v="16" actId="478"/>
          <ac:spMkLst>
            <pc:docMk/>
            <pc:sldMk cId="3424008277" sldId="435"/>
            <ac:spMk id="3" creationId="{3D6A9DD2-FF7C-872A-80FF-C87A7B0E0B65}"/>
          </ac:spMkLst>
        </pc:spChg>
      </pc:sldChg>
      <pc:sldMasterChg chg="modSp mod modSldLayout">
        <pc:chgData name="Hans Gelissen (DHL SSC Maastricht)" userId="1afa8510-4eed-4b73-a29e-678838cd8acd" providerId="ADAL" clId="{4115B80A-68E3-4082-B4A0-52601A5B3EAB}" dt="2023-06-30T15:14:37.855" v="14"/>
        <pc:sldMasterMkLst>
          <pc:docMk/>
          <pc:sldMasterMk cId="727954729" sldId="2147483772"/>
        </pc:sldMasterMkLst>
        <pc:spChg chg="mod">
          <ac:chgData name="Hans Gelissen (DHL SSC Maastricht)" userId="1afa8510-4eed-4b73-a29e-678838cd8acd" providerId="ADAL" clId="{4115B80A-68E3-4082-B4A0-52601A5B3EAB}" dt="2023-06-30T15:13:36.595" v="3" actId="113"/>
          <ac:spMkLst>
            <pc:docMk/>
            <pc:sldMasterMk cId="727954729" sldId="2147483772"/>
            <ac:spMk id="2" creationId="{9B6C9B6F-FA65-7036-8FA4-35FEF6BF24FF}"/>
          </ac:spMkLst>
        </pc:spChg>
        <pc:sldLayoutChg chg="addSp modSp">
          <pc:chgData name="Hans Gelissen (DHL SSC Maastricht)" userId="1afa8510-4eed-4b73-a29e-678838cd8acd" providerId="ADAL" clId="{4115B80A-68E3-4082-B4A0-52601A5B3EAB}" dt="2023-06-30T15:13:48.167" v="4"/>
          <pc:sldLayoutMkLst>
            <pc:docMk/>
            <pc:sldMasterMk cId="727954729" sldId="2147483772"/>
            <pc:sldLayoutMk cId="1997391794" sldId="2147483734"/>
          </pc:sldLayoutMkLst>
          <pc:spChg chg="add mod">
            <ac:chgData name="Hans Gelissen (DHL SSC Maastricht)" userId="1afa8510-4eed-4b73-a29e-678838cd8acd" providerId="ADAL" clId="{4115B80A-68E3-4082-B4A0-52601A5B3EAB}" dt="2023-06-30T15:13:48.167" v="4"/>
            <ac:spMkLst>
              <pc:docMk/>
              <pc:sldMasterMk cId="727954729" sldId="2147483772"/>
              <pc:sldLayoutMk cId="1997391794" sldId="2147483734"/>
              <ac:spMk id="4" creationId="{BD7F1694-7EE8-2A17-9795-81B06C25DF36}"/>
            </ac:spMkLst>
          </pc:spChg>
        </pc:sldLayoutChg>
        <pc:sldLayoutChg chg="addSp modSp">
          <pc:chgData name="Hans Gelissen (DHL SSC Maastricht)" userId="1afa8510-4eed-4b73-a29e-678838cd8acd" providerId="ADAL" clId="{4115B80A-68E3-4082-B4A0-52601A5B3EAB}" dt="2023-06-30T15:13:51.031" v="5"/>
          <pc:sldLayoutMkLst>
            <pc:docMk/>
            <pc:sldMasterMk cId="727954729" sldId="2147483772"/>
            <pc:sldLayoutMk cId="3070187357" sldId="2147483773"/>
          </pc:sldLayoutMkLst>
          <pc:spChg chg="add mod">
            <ac:chgData name="Hans Gelissen (DHL SSC Maastricht)" userId="1afa8510-4eed-4b73-a29e-678838cd8acd" providerId="ADAL" clId="{4115B80A-68E3-4082-B4A0-52601A5B3EAB}" dt="2023-06-30T15:13:51.031" v="5"/>
            <ac:spMkLst>
              <pc:docMk/>
              <pc:sldMasterMk cId="727954729" sldId="2147483772"/>
              <pc:sldLayoutMk cId="3070187357" sldId="2147483773"/>
              <ac:spMk id="4" creationId="{75BFCA33-7768-BE6A-7593-456240C10343}"/>
            </ac:spMkLst>
          </pc:spChg>
        </pc:sldLayoutChg>
        <pc:sldLayoutChg chg="addSp modSp">
          <pc:chgData name="Hans Gelissen (DHL SSC Maastricht)" userId="1afa8510-4eed-4b73-a29e-678838cd8acd" providerId="ADAL" clId="{4115B80A-68E3-4082-B4A0-52601A5B3EAB}" dt="2023-06-30T15:13:53.071" v="6"/>
          <pc:sldLayoutMkLst>
            <pc:docMk/>
            <pc:sldMasterMk cId="727954729" sldId="2147483772"/>
            <pc:sldLayoutMk cId="2597155215" sldId="2147483774"/>
          </pc:sldLayoutMkLst>
          <pc:spChg chg="add mod">
            <ac:chgData name="Hans Gelissen (DHL SSC Maastricht)" userId="1afa8510-4eed-4b73-a29e-678838cd8acd" providerId="ADAL" clId="{4115B80A-68E3-4082-B4A0-52601A5B3EAB}" dt="2023-06-30T15:13:53.071" v="6"/>
            <ac:spMkLst>
              <pc:docMk/>
              <pc:sldMasterMk cId="727954729" sldId="2147483772"/>
              <pc:sldLayoutMk cId="2597155215" sldId="2147483774"/>
              <ac:spMk id="4" creationId="{EAEED896-2B9B-D0D8-CB9F-35FCA574CDB2}"/>
            </ac:spMkLst>
          </pc:spChg>
        </pc:sldLayoutChg>
        <pc:sldLayoutChg chg="addSp modSp">
          <pc:chgData name="Hans Gelissen (DHL SSC Maastricht)" userId="1afa8510-4eed-4b73-a29e-678838cd8acd" providerId="ADAL" clId="{4115B80A-68E3-4082-B4A0-52601A5B3EAB}" dt="2023-06-30T15:13:55.223" v="7"/>
          <pc:sldLayoutMkLst>
            <pc:docMk/>
            <pc:sldMasterMk cId="727954729" sldId="2147483772"/>
            <pc:sldLayoutMk cId="1441526566" sldId="2147484017"/>
          </pc:sldLayoutMkLst>
          <pc:spChg chg="add mod">
            <ac:chgData name="Hans Gelissen (DHL SSC Maastricht)" userId="1afa8510-4eed-4b73-a29e-678838cd8acd" providerId="ADAL" clId="{4115B80A-68E3-4082-B4A0-52601A5B3EAB}" dt="2023-06-30T15:13:55.223" v="7"/>
            <ac:spMkLst>
              <pc:docMk/>
              <pc:sldMasterMk cId="727954729" sldId="2147483772"/>
              <pc:sldLayoutMk cId="1441526566" sldId="2147484017"/>
              <ac:spMk id="3" creationId="{462C45AA-710D-1486-5094-D19ABD237CF1}"/>
            </ac:spMkLst>
          </pc:spChg>
        </pc:sldLayoutChg>
        <pc:sldLayoutChg chg="addSp modSp">
          <pc:chgData name="Hans Gelissen (DHL SSC Maastricht)" userId="1afa8510-4eed-4b73-a29e-678838cd8acd" providerId="ADAL" clId="{4115B80A-68E3-4082-B4A0-52601A5B3EAB}" dt="2023-06-30T15:13:56.988" v="8"/>
          <pc:sldLayoutMkLst>
            <pc:docMk/>
            <pc:sldMasterMk cId="727954729" sldId="2147483772"/>
            <pc:sldLayoutMk cId="3489306472" sldId="2147484018"/>
          </pc:sldLayoutMkLst>
          <pc:spChg chg="add mod">
            <ac:chgData name="Hans Gelissen (DHL SSC Maastricht)" userId="1afa8510-4eed-4b73-a29e-678838cd8acd" providerId="ADAL" clId="{4115B80A-68E3-4082-B4A0-52601A5B3EAB}" dt="2023-06-30T15:13:56.988" v="8"/>
            <ac:spMkLst>
              <pc:docMk/>
              <pc:sldMasterMk cId="727954729" sldId="2147483772"/>
              <pc:sldLayoutMk cId="3489306472" sldId="2147484018"/>
              <ac:spMk id="3" creationId="{ED97271C-D8CF-8FB4-D8E3-235BCCD7F68F}"/>
            </ac:spMkLst>
          </pc:spChg>
        </pc:sldLayoutChg>
        <pc:sldLayoutChg chg="addSp modSp">
          <pc:chgData name="Hans Gelissen (DHL SSC Maastricht)" userId="1afa8510-4eed-4b73-a29e-678838cd8acd" providerId="ADAL" clId="{4115B80A-68E3-4082-B4A0-52601A5B3EAB}" dt="2023-06-30T15:13:58.927" v="9"/>
          <pc:sldLayoutMkLst>
            <pc:docMk/>
            <pc:sldMasterMk cId="727954729" sldId="2147483772"/>
            <pc:sldLayoutMk cId="215789223" sldId="2147484019"/>
          </pc:sldLayoutMkLst>
          <pc:spChg chg="add mod">
            <ac:chgData name="Hans Gelissen (DHL SSC Maastricht)" userId="1afa8510-4eed-4b73-a29e-678838cd8acd" providerId="ADAL" clId="{4115B80A-68E3-4082-B4A0-52601A5B3EAB}" dt="2023-06-30T15:13:58.927" v="9"/>
            <ac:spMkLst>
              <pc:docMk/>
              <pc:sldMasterMk cId="727954729" sldId="2147483772"/>
              <pc:sldLayoutMk cId="215789223" sldId="2147484019"/>
              <ac:spMk id="3" creationId="{06B9E501-4F00-C841-8024-B9429ECFD087}"/>
            </ac:spMkLst>
          </pc:spChg>
        </pc:sldLayoutChg>
        <pc:sldLayoutChg chg="addSp modSp">
          <pc:chgData name="Hans Gelissen (DHL SSC Maastricht)" userId="1afa8510-4eed-4b73-a29e-678838cd8acd" providerId="ADAL" clId="{4115B80A-68E3-4082-B4A0-52601A5B3EAB}" dt="2023-06-30T15:14:00.911" v="10"/>
          <pc:sldLayoutMkLst>
            <pc:docMk/>
            <pc:sldMasterMk cId="727954729" sldId="2147483772"/>
            <pc:sldLayoutMk cId="3201581599" sldId="2147484021"/>
          </pc:sldLayoutMkLst>
          <pc:spChg chg="add mod">
            <ac:chgData name="Hans Gelissen (DHL SSC Maastricht)" userId="1afa8510-4eed-4b73-a29e-678838cd8acd" providerId="ADAL" clId="{4115B80A-68E3-4082-B4A0-52601A5B3EAB}" dt="2023-06-30T15:14:00.911" v="10"/>
            <ac:spMkLst>
              <pc:docMk/>
              <pc:sldMasterMk cId="727954729" sldId="2147483772"/>
              <pc:sldLayoutMk cId="3201581599" sldId="2147484021"/>
              <ac:spMk id="3" creationId="{0CD6E51D-83E2-0901-4632-48EEDACF1084}"/>
            </ac:spMkLst>
          </pc:spChg>
        </pc:sldLayoutChg>
        <pc:sldLayoutChg chg="addSp modSp">
          <pc:chgData name="Hans Gelissen (DHL SSC Maastricht)" userId="1afa8510-4eed-4b73-a29e-678838cd8acd" providerId="ADAL" clId="{4115B80A-68E3-4082-B4A0-52601A5B3EAB}" dt="2023-06-30T15:14:05.783" v="11"/>
          <pc:sldLayoutMkLst>
            <pc:docMk/>
            <pc:sldMasterMk cId="727954729" sldId="2147483772"/>
            <pc:sldLayoutMk cId="743163496" sldId="2147484022"/>
          </pc:sldLayoutMkLst>
          <pc:spChg chg="add mod">
            <ac:chgData name="Hans Gelissen (DHL SSC Maastricht)" userId="1afa8510-4eed-4b73-a29e-678838cd8acd" providerId="ADAL" clId="{4115B80A-68E3-4082-B4A0-52601A5B3EAB}" dt="2023-06-30T15:14:05.783" v="11"/>
            <ac:spMkLst>
              <pc:docMk/>
              <pc:sldMasterMk cId="727954729" sldId="2147483772"/>
              <pc:sldLayoutMk cId="743163496" sldId="2147484022"/>
              <ac:spMk id="3" creationId="{F25A8ADA-BE84-E32A-7E41-F9C0D4F92DB7}"/>
            </ac:spMkLst>
          </pc:spChg>
        </pc:sldLayoutChg>
        <pc:sldLayoutChg chg="addSp modSp">
          <pc:chgData name="Hans Gelissen (DHL SSC Maastricht)" userId="1afa8510-4eed-4b73-a29e-678838cd8acd" providerId="ADAL" clId="{4115B80A-68E3-4082-B4A0-52601A5B3EAB}" dt="2023-06-30T15:14:07.724" v="12"/>
          <pc:sldLayoutMkLst>
            <pc:docMk/>
            <pc:sldMasterMk cId="727954729" sldId="2147483772"/>
            <pc:sldLayoutMk cId="636865668" sldId="2147484023"/>
          </pc:sldLayoutMkLst>
          <pc:spChg chg="add mod">
            <ac:chgData name="Hans Gelissen (DHL SSC Maastricht)" userId="1afa8510-4eed-4b73-a29e-678838cd8acd" providerId="ADAL" clId="{4115B80A-68E3-4082-B4A0-52601A5B3EAB}" dt="2023-06-30T15:14:07.724" v="12"/>
            <ac:spMkLst>
              <pc:docMk/>
              <pc:sldMasterMk cId="727954729" sldId="2147483772"/>
              <pc:sldLayoutMk cId="636865668" sldId="2147484023"/>
              <ac:spMk id="3" creationId="{D4D958CD-FBF0-2A2D-96D2-1DBAADD51C2A}"/>
            </ac:spMkLst>
          </pc:spChg>
        </pc:sldLayoutChg>
        <pc:sldLayoutChg chg="addSp modSp">
          <pc:chgData name="Hans Gelissen (DHL SSC Maastricht)" userId="1afa8510-4eed-4b73-a29e-678838cd8acd" providerId="ADAL" clId="{4115B80A-68E3-4082-B4A0-52601A5B3EAB}" dt="2023-06-30T15:14:35.487" v="13"/>
          <pc:sldLayoutMkLst>
            <pc:docMk/>
            <pc:sldMasterMk cId="727954729" sldId="2147483772"/>
            <pc:sldLayoutMk cId="2943944997" sldId="2147484026"/>
          </pc:sldLayoutMkLst>
          <pc:spChg chg="add mod">
            <ac:chgData name="Hans Gelissen (DHL SSC Maastricht)" userId="1afa8510-4eed-4b73-a29e-678838cd8acd" providerId="ADAL" clId="{4115B80A-68E3-4082-B4A0-52601A5B3EAB}" dt="2023-06-30T15:14:35.487" v="13"/>
            <ac:spMkLst>
              <pc:docMk/>
              <pc:sldMasterMk cId="727954729" sldId="2147483772"/>
              <pc:sldLayoutMk cId="2943944997" sldId="2147484026"/>
              <ac:spMk id="3" creationId="{69B2084B-9BFC-FCB2-B5A2-6E97DD76A295}"/>
            </ac:spMkLst>
          </pc:spChg>
        </pc:sldLayoutChg>
        <pc:sldLayoutChg chg="addSp modSp">
          <pc:chgData name="Hans Gelissen (DHL SSC Maastricht)" userId="1afa8510-4eed-4b73-a29e-678838cd8acd" providerId="ADAL" clId="{4115B80A-68E3-4082-B4A0-52601A5B3EAB}" dt="2023-06-30T15:14:37.855" v="14"/>
          <pc:sldLayoutMkLst>
            <pc:docMk/>
            <pc:sldMasterMk cId="727954729" sldId="2147483772"/>
            <pc:sldLayoutMk cId="470324799" sldId="2147484027"/>
          </pc:sldLayoutMkLst>
          <pc:spChg chg="add mod">
            <ac:chgData name="Hans Gelissen (DHL SSC Maastricht)" userId="1afa8510-4eed-4b73-a29e-678838cd8acd" providerId="ADAL" clId="{4115B80A-68E3-4082-B4A0-52601A5B3EAB}" dt="2023-06-30T15:14:37.855" v="14"/>
            <ac:spMkLst>
              <pc:docMk/>
              <pc:sldMasterMk cId="727954729" sldId="2147483772"/>
              <pc:sldLayoutMk cId="470324799" sldId="2147484027"/>
              <ac:spMk id="3" creationId="{490E1975-0619-7C19-6DE1-1B86BF3D3245}"/>
            </ac:spMkLst>
          </pc:spChg>
        </pc:sldLayoutChg>
      </pc:sldMasterChg>
    </pc:docChg>
  </pc:docChgLst>
  <pc:docChgLst>
    <pc:chgData name="Hans Gelissen (DHL SSC Maastricht)" userId="1afa8510-4eed-4b73-a29e-678838cd8acd" providerId="ADAL" clId="{5DC7728A-B193-4E42-B707-5F97579A36D9}"/>
    <pc:docChg chg="custSel modMainMaster">
      <pc:chgData name="Hans Gelissen (DHL SSC Maastricht)" userId="1afa8510-4eed-4b73-a29e-678838cd8acd" providerId="ADAL" clId="{5DC7728A-B193-4E42-B707-5F97579A36D9}" dt="2023-06-27T09:36:02.419" v="72"/>
      <pc:docMkLst>
        <pc:docMk/>
      </pc:docMkLst>
      <pc:sldMasterChg chg="modSldLayout">
        <pc:chgData name="Hans Gelissen (DHL SSC Maastricht)" userId="1afa8510-4eed-4b73-a29e-678838cd8acd" providerId="ADAL" clId="{5DC7728A-B193-4E42-B707-5F97579A36D9}" dt="2023-06-27T09:35:18.060" v="40"/>
        <pc:sldMasterMkLst>
          <pc:docMk/>
          <pc:sldMasterMk cId="2253695231" sldId="2147483754"/>
        </pc:sldMasterMkLst>
        <pc:sldLayoutChg chg="addSp delSp modSp mod">
          <pc:chgData name="Hans Gelissen (DHL SSC Maastricht)" userId="1afa8510-4eed-4b73-a29e-678838cd8acd" providerId="ADAL" clId="{5DC7728A-B193-4E42-B707-5F97579A36D9}" dt="2023-06-27T09:34:17.568" v="8" actId="1076"/>
          <pc:sldLayoutMkLst>
            <pc:docMk/>
            <pc:sldMasterMk cId="2253695231" sldId="2147483754"/>
            <pc:sldLayoutMk cId="403307911" sldId="2147483730"/>
          </pc:sldLayoutMkLst>
          <pc:spChg chg="add mod">
            <ac:chgData name="Hans Gelissen (DHL SSC Maastricht)" userId="1afa8510-4eed-4b73-a29e-678838cd8acd" providerId="ADAL" clId="{5DC7728A-B193-4E42-B707-5F97579A36D9}" dt="2023-06-27T09:33:49.557" v="0"/>
            <ac:spMkLst>
              <pc:docMk/>
              <pc:sldMasterMk cId="2253695231" sldId="2147483754"/>
              <pc:sldLayoutMk cId="403307911" sldId="2147483730"/>
              <ac:spMk id="3" creationId="{7F0A5D73-5526-440B-2C11-AE1BC42C3E80}"/>
            </ac:spMkLst>
          </pc:spChg>
          <pc:grpChg chg="add mod">
            <ac:chgData name="Hans Gelissen (DHL SSC Maastricht)" userId="1afa8510-4eed-4b73-a29e-678838cd8acd" providerId="ADAL" clId="{5DC7728A-B193-4E42-B707-5F97579A36D9}" dt="2023-06-27T09:34:17.568" v="8" actId="1076"/>
            <ac:grpSpMkLst>
              <pc:docMk/>
              <pc:sldMasterMk cId="2253695231" sldId="2147483754"/>
              <pc:sldLayoutMk cId="403307911" sldId="2147483730"/>
              <ac:grpSpMk id="2" creationId="{0288C8FB-13C9-99FB-B01C-DC4395A3BA6A}"/>
            </ac:grpSpMkLst>
          </pc:grpChg>
          <pc:grpChg chg="del">
            <ac:chgData name="Hans Gelissen (DHL SSC Maastricht)" userId="1afa8510-4eed-4b73-a29e-678838cd8acd" providerId="ADAL" clId="{5DC7728A-B193-4E42-B707-5F97579A36D9}" dt="2023-06-27T09:34:13.090" v="7" actId="478"/>
            <ac:grpSpMkLst>
              <pc:docMk/>
              <pc:sldMasterMk cId="2253695231" sldId="2147483754"/>
              <pc:sldLayoutMk cId="403307911" sldId="2147483730"/>
              <ac:grpSpMk id="19" creationId="{415A3D1A-37E6-49DF-9012-F8D327340F26}"/>
            </ac:grpSpMkLst>
          </pc:grp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4" creationId="{6E53A130-1D8C-D2D0-CF39-EC03D3479518}"/>
            </ac:picMkLst>
          </pc:pic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5" creationId="{E8F2A838-40E6-8577-AE70-F1CD20FC2A14}"/>
            </ac:picMkLst>
          </pc:pic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6" creationId="{37D80520-0709-236C-C671-6FD145FDD001}"/>
            </ac:picMkLst>
          </pc:picChg>
          <pc:picChg chg="mod">
            <ac:chgData name="Hans Gelissen (DHL SSC Maastricht)" userId="1afa8510-4eed-4b73-a29e-678838cd8acd" providerId="ADAL" clId="{5DC7728A-B193-4E42-B707-5F97579A36D9}" dt="2023-06-27T09:34:02.399" v="4" actId="1076"/>
            <ac:picMkLst>
              <pc:docMk/>
              <pc:sldMasterMk cId="2253695231" sldId="2147483754"/>
              <pc:sldLayoutMk cId="403307911" sldId="2147483730"/>
              <ac:picMk id="2054" creationId="{B43C5739-9C50-4600-9D8C-4447946A6FBF}"/>
            </ac:picMkLst>
          </pc:picChg>
        </pc:sldLayoutChg>
        <pc:sldLayoutChg chg="addSp delSp modSp mod">
          <pc:chgData name="Hans Gelissen (DHL SSC Maastricht)" userId="1afa8510-4eed-4b73-a29e-678838cd8acd" providerId="ADAL" clId="{5DC7728A-B193-4E42-B707-5F97579A36D9}" dt="2023-06-27T09:35:01.268" v="24"/>
          <pc:sldLayoutMkLst>
            <pc:docMk/>
            <pc:sldMasterMk cId="2253695231" sldId="2147483754"/>
            <pc:sldLayoutMk cId="3371890454" sldId="2147483744"/>
          </pc:sldLayoutMkLst>
          <pc:spChg chg="mod">
            <ac:chgData name="Hans Gelissen (DHL SSC Maastricht)" userId="1afa8510-4eed-4b73-a29e-678838cd8acd" providerId="ADAL" clId="{5DC7728A-B193-4E42-B707-5F97579A36D9}" dt="2023-06-27T09:35:01.268" v="24"/>
            <ac:spMkLst>
              <pc:docMk/>
              <pc:sldMasterMk cId="2253695231" sldId="2147483754"/>
              <pc:sldLayoutMk cId="3371890454" sldId="2147483744"/>
              <ac:spMk id="6" creationId="{C6C7FE48-FF00-459A-7AE6-E100ED8257A1}"/>
            </ac:spMkLst>
          </pc:spChg>
          <pc:grpChg chg="add mod">
            <ac:chgData name="Hans Gelissen (DHL SSC Maastricht)" userId="1afa8510-4eed-4b73-a29e-678838cd8acd" providerId="ADAL" clId="{5DC7728A-B193-4E42-B707-5F97579A36D9}" dt="2023-06-27T09:35:01.268" v="24"/>
            <ac:grpSpMkLst>
              <pc:docMk/>
              <pc:sldMasterMk cId="2253695231" sldId="2147483754"/>
              <pc:sldLayoutMk cId="3371890454" sldId="2147483744"/>
              <ac:grpSpMk id="2" creationId="{DB51E713-9505-E355-6810-9870EC770376}"/>
            </ac:grpSpMkLst>
          </pc:grpChg>
          <pc:grpChg chg="del">
            <ac:chgData name="Hans Gelissen (DHL SSC Maastricht)" userId="1afa8510-4eed-4b73-a29e-678838cd8acd" providerId="ADAL" clId="{5DC7728A-B193-4E42-B707-5F97579A36D9}" dt="2023-06-27T09:34:23.470" v="9" actId="478"/>
            <ac:grpSpMkLst>
              <pc:docMk/>
              <pc:sldMasterMk cId="2253695231" sldId="2147483754"/>
              <pc:sldLayoutMk cId="3371890454" sldId="2147483744"/>
              <ac:grpSpMk id="65" creationId="{1BDED68A-58CE-477A-8081-6078BF2E6B86}"/>
            </ac:grpSpMkLst>
          </pc:grp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7" creationId="{1DA72651-6438-02D8-07C6-0EEFF946783F}"/>
            </ac:picMkLst>
          </pc:pic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8" creationId="{111EB31F-3938-40BB-5ED6-AC3789D161A5}"/>
            </ac:picMkLst>
          </pc:pic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9" creationId="{C898D12F-0B21-6CCF-0BF2-2F3AF3C8E309}"/>
            </ac:picMkLst>
          </pc:picChg>
        </pc:sldLayoutChg>
        <pc:sldLayoutChg chg="addSp delSp modSp mod">
          <pc:chgData name="Hans Gelissen (DHL SSC Maastricht)" userId="1afa8510-4eed-4b73-a29e-678838cd8acd" providerId="ADAL" clId="{5DC7728A-B193-4E42-B707-5F97579A36D9}" dt="2023-06-27T09:35:01.893" v="25"/>
          <pc:sldLayoutMkLst>
            <pc:docMk/>
            <pc:sldMasterMk cId="2253695231" sldId="2147483754"/>
            <pc:sldLayoutMk cId="2430525271" sldId="2147483825"/>
          </pc:sldLayoutMkLst>
          <pc:spChg chg="mod">
            <ac:chgData name="Hans Gelissen (DHL SSC Maastricht)" userId="1afa8510-4eed-4b73-a29e-678838cd8acd" providerId="ADAL" clId="{5DC7728A-B193-4E42-B707-5F97579A36D9}" dt="2023-06-27T09:35:01.893" v="25"/>
            <ac:spMkLst>
              <pc:docMk/>
              <pc:sldMasterMk cId="2253695231" sldId="2147483754"/>
              <pc:sldLayoutMk cId="2430525271" sldId="2147483825"/>
              <ac:spMk id="6" creationId="{CFF27272-3B68-EF42-2988-7B3AC6518784}"/>
            </ac:spMkLst>
          </pc:spChg>
          <pc:grpChg chg="add mod">
            <ac:chgData name="Hans Gelissen (DHL SSC Maastricht)" userId="1afa8510-4eed-4b73-a29e-678838cd8acd" providerId="ADAL" clId="{5DC7728A-B193-4E42-B707-5F97579A36D9}" dt="2023-06-27T09:35:01.893" v="25"/>
            <ac:grpSpMkLst>
              <pc:docMk/>
              <pc:sldMasterMk cId="2253695231" sldId="2147483754"/>
              <pc:sldLayoutMk cId="2430525271" sldId="2147483825"/>
              <ac:grpSpMk id="2" creationId="{440AB59A-982F-E07C-BD45-8D91E7AC79FA}"/>
            </ac:grpSpMkLst>
          </pc:grpChg>
          <pc:grpChg chg="del">
            <ac:chgData name="Hans Gelissen (DHL SSC Maastricht)" userId="1afa8510-4eed-4b73-a29e-678838cd8acd" providerId="ADAL" clId="{5DC7728A-B193-4E42-B707-5F97579A36D9}" dt="2023-06-27T09:34:25.882" v="10" actId="478"/>
            <ac:grpSpMkLst>
              <pc:docMk/>
              <pc:sldMasterMk cId="2253695231" sldId="2147483754"/>
              <pc:sldLayoutMk cId="2430525271" sldId="2147483825"/>
              <ac:grpSpMk id="65" creationId="{1BDED68A-58CE-477A-8081-6078BF2E6B86}"/>
            </ac:grpSpMkLst>
          </pc:grp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7" creationId="{E7BCFC16-AA3F-0CB5-7C68-778170EF6ED7}"/>
            </ac:picMkLst>
          </pc:pic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8" creationId="{AE1436D6-6527-EAE8-1703-202DF06CF97E}"/>
            </ac:picMkLst>
          </pc:pic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9" creationId="{2023F3B7-099D-D803-9C34-D16C91E8AF51}"/>
            </ac:picMkLst>
          </pc:picChg>
        </pc:sldLayoutChg>
        <pc:sldLayoutChg chg="addSp delSp modSp mod">
          <pc:chgData name="Hans Gelissen (DHL SSC Maastricht)" userId="1afa8510-4eed-4b73-a29e-678838cd8acd" providerId="ADAL" clId="{5DC7728A-B193-4E42-B707-5F97579A36D9}" dt="2023-06-27T09:35:02.671" v="26"/>
          <pc:sldLayoutMkLst>
            <pc:docMk/>
            <pc:sldMasterMk cId="2253695231" sldId="2147483754"/>
            <pc:sldLayoutMk cId="1903724941" sldId="2147483826"/>
          </pc:sldLayoutMkLst>
          <pc:spChg chg="mod">
            <ac:chgData name="Hans Gelissen (DHL SSC Maastricht)" userId="1afa8510-4eed-4b73-a29e-678838cd8acd" providerId="ADAL" clId="{5DC7728A-B193-4E42-B707-5F97579A36D9}" dt="2023-06-27T09:35:02.671" v="26"/>
            <ac:spMkLst>
              <pc:docMk/>
              <pc:sldMasterMk cId="2253695231" sldId="2147483754"/>
              <pc:sldLayoutMk cId="1903724941" sldId="2147483826"/>
              <ac:spMk id="6" creationId="{5C1EFA21-BC10-2786-CC43-5CF7533353C0}"/>
            </ac:spMkLst>
          </pc:spChg>
          <pc:grpChg chg="add mod">
            <ac:chgData name="Hans Gelissen (DHL SSC Maastricht)" userId="1afa8510-4eed-4b73-a29e-678838cd8acd" providerId="ADAL" clId="{5DC7728A-B193-4E42-B707-5F97579A36D9}" dt="2023-06-27T09:35:02.671" v="26"/>
            <ac:grpSpMkLst>
              <pc:docMk/>
              <pc:sldMasterMk cId="2253695231" sldId="2147483754"/>
              <pc:sldLayoutMk cId="1903724941" sldId="2147483826"/>
              <ac:grpSpMk id="2" creationId="{173A5332-604C-2B59-5144-AA9C2199535B}"/>
            </ac:grpSpMkLst>
          </pc:grpChg>
          <pc:grpChg chg="del">
            <ac:chgData name="Hans Gelissen (DHL SSC Maastricht)" userId="1afa8510-4eed-4b73-a29e-678838cd8acd" providerId="ADAL" clId="{5DC7728A-B193-4E42-B707-5F97579A36D9}" dt="2023-06-27T09:34:27.319" v="11" actId="478"/>
            <ac:grpSpMkLst>
              <pc:docMk/>
              <pc:sldMasterMk cId="2253695231" sldId="2147483754"/>
              <pc:sldLayoutMk cId="1903724941" sldId="2147483826"/>
              <ac:grpSpMk id="65" creationId="{1BDED68A-58CE-477A-8081-6078BF2E6B86}"/>
            </ac:grpSpMkLst>
          </pc:grp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7" creationId="{145916BA-E4DA-AD0D-6D8C-0BF33AF64127}"/>
            </ac:picMkLst>
          </pc:pic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8" creationId="{669578F1-2F79-9D0D-8EB1-67C1B692FA85}"/>
            </ac:picMkLst>
          </pc:pic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9" creationId="{CD36F742-708A-4B31-CEDB-0AB6F41B93FB}"/>
            </ac:picMkLst>
          </pc:picChg>
        </pc:sldLayoutChg>
        <pc:sldLayoutChg chg="addSp delSp modSp mod">
          <pc:chgData name="Hans Gelissen (DHL SSC Maastricht)" userId="1afa8510-4eed-4b73-a29e-678838cd8acd" providerId="ADAL" clId="{5DC7728A-B193-4E42-B707-5F97579A36D9}" dt="2023-06-27T09:35:06.042" v="29"/>
          <pc:sldLayoutMkLst>
            <pc:docMk/>
            <pc:sldMasterMk cId="2253695231" sldId="2147483754"/>
            <pc:sldLayoutMk cId="1305642289" sldId="2147483873"/>
          </pc:sldLayoutMkLst>
          <pc:spChg chg="mod">
            <ac:chgData name="Hans Gelissen (DHL SSC Maastricht)" userId="1afa8510-4eed-4b73-a29e-678838cd8acd" providerId="ADAL" clId="{5DC7728A-B193-4E42-B707-5F97579A36D9}" dt="2023-06-27T09:35:06.042" v="29"/>
            <ac:spMkLst>
              <pc:docMk/>
              <pc:sldMasterMk cId="2253695231" sldId="2147483754"/>
              <pc:sldLayoutMk cId="1305642289" sldId="2147483873"/>
              <ac:spMk id="6" creationId="{77B9BE65-EB90-0572-3B2E-AB612EF0F4F7}"/>
            </ac:spMkLst>
          </pc:spChg>
          <pc:grpChg chg="add mod">
            <ac:chgData name="Hans Gelissen (DHL SSC Maastricht)" userId="1afa8510-4eed-4b73-a29e-678838cd8acd" providerId="ADAL" clId="{5DC7728A-B193-4E42-B707-5F97579A36D9}" dt="2023-06-27T09:35:06.042" v="29"/>
            <ac:grpSpMkLst>
              <pc:docMk/>
              <pc:sldMasterMk cId="2253695231" sldId="2147483754"/>
              <pc:sldLayoutMk cId="1305642289" sldId="2147483873"/>
              <ac:grpSpMk id="2" creationId="{5D8E90DD-629B-BBD9-2DF4-A2AC1C34BC47}"/>
            </ac:grpSpMkLst>
          </pc:grpChg>
          <pc:grpChg chg="del">
            <ac:chgData name="Hans Gelissen (DHL SSC Maastricht)" userId="1afa8510-4eed-4b73-a29e-678838cd8acd" providerId="ADAL" clId="{5DC7728A-B193-4E42-B707-5F97579A36D9}" dt="2023-06-27T09:34:31.037" v="14" actId="478"/>
            <ac:grpSpMkLst>
              <pc:docMk/>
              <pc:sldMasterMk cId="2253695231" sldId="2147483754"/>
              <pc:sldLayoutMk cId="1305642289" sldId="2147483873"/>
              <ac:grpSpMk id="65" creationId="{1BDED68A-58CE-477A-8081-6078BF2E6B86}"/>
            </ac:grpSpMkLst>
          </pc:grp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7" creationId="{CD3F0093-6A8F-FCAF-8926-EBBE854BA61B}"/>
            </ac:picMkLst>
          </pc:pic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8" creationId="{0A8DAF30-7CA2-357B-5A6B-DA13E04763D5}"/>
            </ac:picMkLst>
          </pc:pic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9" creationId="{3FC498F8-8B36-1C3C-FF13-8F322BA36E2B}"/>
            </ac:picMkLst>
          </pc:picChg>
        </pc:sldLayoutChg>
        <pc:sldLayoutChg chg="addSp delSp modSp mod">
          <pc:chgData name="Hans Gelissen (DHL SSC Maastricht)" userId="1afa8510-4eed-4b73-a29e-678838cd8acd" providerId="ADAL" clId="{5DC7728A-B193-4E42-B707-5F97579A36D9}" dt="2023-06-27T09:35:03.455" v="27"/>
          <pc:sldLayoutMkLst>
            <pc:docMk/>
            <pc:sldMasterMk cId="2253695231" sldId="2147483754"/>
            <pc:sldLayoutMk cId="3769672236" sldId="2147483874"/>
          </pc:sldLayoutMkLst>
          <pc:spChg chg="mod">
            <ac:chgData name="Hans Gelissen (DHL SSC Maastricht)" userId="1afa8510-4eed-4b73-a29e-678838cd8acd" providerId="ADAL" clId="{5DC7728A-B193-4E42-B707-5F97579A36D9}" dt="2023-06-27T09:35:03.455" v="27"/>
            <ac:spMkLst>
              <pc:docMk/>
              <pc:sldMasterMk cId="2253695231" sldId="2147483754"/>
              <pc:sldLayoutMk cId="3769672236" sldId="2147483874"/>
              <ac:spMk id="6" creationId="{88ECE77C-0C9B-D878-7926-EDBBEBAEC103}"/>
            </ac:spMkLst>
          </pc:spChg>
          <pc:grpChg chg="add mod">
            <ac:chgData name="Hans Gelissen (DHL SSC Maastricht)" userId="1afa8510-4eed-4b73-a29e-678838cd8acd" providerId="ADAL" clId="{5DC7728A-B193-4E42-B707-5F97579A36D9}" dt="2023-06-27T09:35:03.455" v="27"/>
            <ac:grpSpMkLst>
              <pc:docMk/>
              <pc:sldMasterMk cId="2253695231" sldId="2147483754"/>
              <pc:sldLayoutMk cId="3769672236" sldId="2147483874"/>
              <ac:grpSpMk id="2" creationId="{00F9BDD3-6959-C843-EEBF-F9CB44ADFB57}"/>
            </ac:grpSpMkLst>
          </pc:grpChg>
          <pc:grpChg chg="del">
            <ac:chgData name="Hans Gelissen (DHL SSC Maastricht)" userId="1afa8510-4eed-4b73-a29e-678838cd8acd" providerId="ADAL" clId="{5DC7728A-B193-4E42-B707-5F97579A36D9}" dt="2023-06-27T09:34:28.369" v="12" actId="478"/>
            <ac:grpSpMkLst>
              <pc:docMk/>
              <pc:sldMasterMk cId="2253695231" sldId="2147483754"/>
              <pc:sldLayoutMk cId="3769672236" sldId="2147483874"/>
              <ac:grpSpMk id="65" creationId="{1BDED68A-58CE-477A-8081-6078BF2E6B86}"/>
            </ac:grpSpMkLst>
          </pc:grp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7" creationId="{735DE826-6200-FAAD-B4DA-04BE74BAADBA}"/>
            </ac:picMkLst>
          </pc:pic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8" creationId="{AF70C7C7-10D4-0C4F-ED9F-51E4E2665429}"/>
            </ac:picMkLst>
          </pc:pic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9" creationId="{AE1E5FB2-8FC5-81F6-C112-25DA4F580CEB}"/>
            </ac:picMkLst>
          </pc:picChg>
        </pc:sldLayoutChg>
        <pc:sldLayoutChg chg="addSp delSp modSp mod">
          <pc:chgData name="Hans Gelissen (DHL SSC Maastricht)" userId="1afa8510-4eed-4b73-a29e-678838cd8acd" providerId="ADAL" clId="{5DC7728A-B193-4E42-B707-5F97579A36D9}" dt="2023-06-27T09:35:09.424" v="32"/>
          <pc:sldLayoutMkLst>
            <pc:docMk/>
            <pc:sldMasterMk cId="2253695231" sldId="2147483754"/>
            <pc:sldLayoutMk cId="3655209364" sldId="2147483875"/>
          </pc:sldLayoutMkLst>
          <pc:spChg chg="mod">
            <ac:chgData name="Hans Gelissen (DHL SSC Maastricht)" userId="1afa8510-4eed-4b73-a29e-678838cd8acd" providerId="ADAL" clId="{5DC7728A-B193-4E42-B707-5F97579A36D9}" dt="2023-06-27T09:35:06.696" v="30"/>
            <ac:spMkLst>
              <pc:docMk/>
              <pc:sldMasterMk cId="2253695231" sldId="2147483754"/>
              <pc:sldLayoutMk cId="3655209364" sldId="2147483875"/>
              <ac:spMk id="6" creationId="{85A258DB-7F1D-854F-BD1D-FC95EA0A2061}"/>
            </ac:spMkLst>
          </pc:spChg>
          <pc:spChg chg="mod">
            <ac:chgData name="Hans Gelissen (DHL SSC Maastricht)" userId="1afa8510-4eed-4b73-a29e-678838cd8acd" providerId="ADAL" clId="{5DC7728A-B193-4E42-B707-5F97579A36D9}" dt="2023-06-27T09:35:07.429" v="31"/>
            <ac:spMkLst>
              <pc:docMk/>
              <pc:sldMasterMk cId="2253695231" sldId="2147483754"/>
              <pc:sldLayoutMk cId="3655209364" sldId="2147483875"/>
              <ac:spMk id="54" creationId="{D6B9C99C-FD69-3888-F6F8-4D6BAC512E60}"/>
            </ac:spMkLst>
          </pc:spChg>
          <pc:grpChg chg="add mod">
            <ac:chgData name="Hans Gelissen (DHL SSC Maastricht)" userId="1afa8510-4eed-4b73-a29e-678838cd8acd" providerId="ADAL" clId="{5DC7728A-B193-4E42-B707-5F97579A36D9}" dt="2023-06-27T09:35:06.696" v="30"/>
            <ac:grpSpMkLst>
              <pc:docMk/>
              <pc:sldMasterMk cId="2253695231" sldId="2147483754"/>
              <pc:sldLayoutMk cId="3655209364" sldId="2147483875"/>
              <ac:grpSpMk id="2" creationId="{EEEE534E-73CF-FC2F-1094-86D5E1037168}"/>
            </ac:grpSpMkLst>
          </pc:grpChg>
          <pc:grpChg chg="add del mod">
            <ac:chgData name="Hans Gelissen (DHL SSC Maastricht)" userId="1afa8510-4eed-4b73-a29e-678838cd8acd" providerId="ADAL" clId="{5DC7728A-B193-4E42-B707-5F97579A36D9}" dt="2023-06-27T09:35:09.424" v="32"/>
            <ac:grpSpMkLst>
              <pc:docMk/>
              <pc:sldMasterMk cId="2253695231" sldId="2147483754"/>
              <pc:sldLayoutMk cId="3655209364" sldId="2147483875"/>
              <ac:grpSpMk id="53" creationId="{0440E709-2A75-E59B-646A-E78BEDF8A0E6}"/>
            </ac:grpSpMkLst>
          </pc:grpChg>
          <pc:grpChg chg="del">
            <ac:chgData name="Hans Gelissen (DHL SSC Maastricht)" userId="1afa8510-4eed-4b73-a29e-678838cd8acd" providerId="ADAL" clId="{5DC7728A-B193-4E42-B707-5F97579A36D9}" dt="2023-06-27T09:34:32.394" v="15" actId="478"/>
            <ac:grpSpMkLst>
              <pc:docMk/>
              <pc:sldMasterMk cId="2253695231" sldId="2147483754"/>
              <pc:sldLayoutMk cId="3655209364" sldId="2147483875"/>
              <ac:grpSpMk id="65" creationId="{1BDED68A-58CE-477A-8081-6078BF2E6B86}"/>
            </ac:grpSpMkLst>
          </pc:grp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7" creationId="{4C0E3DEB-A09A-603C-E2AD-F722DBE68151}"/>
            </ac:picMkLst>
          </pc:pic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8" creationId="{9FA4BF4D-099D-7FF3-D9B2-8B3C8CF16635}"/>
            </ac:picMkLst>
          </pc:pic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9" creationId="{37A96A54-3597-6070-21B3-FAC6E5FF2250}"/>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5" creationId="{5628127F-0FDE-53A0-AC3F-62DD01FCBF83}"/>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6" creationId="{8DB4E060-62AB-AE82-6DEF-26BC398CCDCE}"/>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7" creationId="{7E6A3C4C-90A1-0036-A650-E61AB0E8C901}"/>
            </ac:picMkLst>
          </pc:picChg>
        </pc:sldLayoutChg>
        <pc:sldLayoutChg chg="addSp delSp modSp mod">
          <pc:chgData name="Hans Gelissen (DHL SSC Maastricht)" userId="1afa8510-4eed-4b73-a29e-678838cd8acd" providerId="ADAL" clId="{5DC7728A-B193-4E42-B707-5F97579A36D9}" dt="2023-06-27T09:35:05.486" v="28"/>
          <pc:sldLayoutMkLst>
            <pc:docMk/>
            <pc:sldMasterMk cId="2253695231" sldId="2147483754"/>
            <pc:sldLayoutMk cId="2728743336" sldId="2147483876"/>
          </pc:sldLayoutMkLst>
          <pc:spChg chg="mod">
            <ac:chgData name="Hans Gelissen (DHL SSC Maastricht)" userId="1afa8510-4eed-4b73-a29e-678838cd8acd" providerId="ADAL" clId="{5DC7728A-B193-4E42-B707-5F97579A36D9}" dt="2023-06-27T09:35:05.486" v="28"/>
            <ac:spMkLst>
              <pc:docMk/>
              <pc:sldMasterMk cId="2253695231" sldId="2147483754"/>
              <pc:sldLayoutMk cId="2728743336" sldId="2147483876"/>
              <ac:spMk id="6" creationId="{41F564AD-24A4-5E0D-7066-B343AEC62FC5}"/>
            </ac:spMkLst>
          </pc:spChg>
          <pc:grpChg chg="add mod">
            <ac:chgData name="Hans Gelissen (DHL SSC Maastricht)" userId="1afa8510-4eed-4b73-a29e-678838cd8acd" providerId="ADAL" clId="{5DC7728A-B193-4E42-B707-5F97579A36D9}" dt="2023-06-27T09:35:05.486" v="28"/>
            <ac:grpSpMkLst>
              <pc:docMk/>
              <pc:sldMasterMk cId="2253695231" sldId="2147483754"/>
              <pc:sldLayoutMk cId="2728743336" sldId="2147483876"/>
              <ac:grpSpMk id="2" creationId="{6B07F70F-93D5-525B-0192-C266AC8F0B55}"/>
            </ac:grpSpMkLst>
          </pc:grpChg>
          <pc:grpChg chg="del">
            <ac:chgData name="Hans Gelissen (DHL SSC Maastricht)" userId="1afa8510-4eed-4b73-a29e-678838cd8acd" providerId="ADAL" clId="{5DC7728A-B193-4E42-B707-5F97579A36D9}" dt="2023-06-27T09:34:29.593" v="13" actId="478"/>
            <ac:grpSpMkLst>
              <pc:docMk/>
              <pc:sldMasterMk cId="2253695231" sldId="2147483754"/>
              <pc:sldLayoutMk cId="2728743336" sldId="2147483876"/>
              <ac:grpSpMk id="65" creationId="{1BDED68A-58CE-477A-8081-6078BF2E6B86}"/>
            </ac:grpSpMkLst>
          </pc:grp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7" creationId="{1CC2DBC4-3915-C1D6-728D-1D1EAF216077}"/>
            </ac:picMkLst>
          </pc:pic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8" creationId="{56C73E10-8B07-A8C6-4E6A-7B2A915BCCF4}"/>
            </ac:picMkLst>
          </pc:pic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9" creationId="{C3FD4AF7-D7FD-3021-3230-41A468BF09EC}"/>
            </ac:picMkLst>
          </pc:picChg>
        </pc:sldLayoutChg>
        <pc:sldLayoutChg chg="addSp delSp modSp mod">
          <pc:chgData name="Hans Gelissen (DHL SSC Maastricht)" userId="1afa8510-4eed-4b73-a29e-678838cd8acd" providerId="ADAL" clId="{5DC7728A-B193-4E42-B707-5F97579A36D9}" dt="2023-06-27T09:35:10.640" v="33"/>
          <pc:sldLayoutMkLst>
            <pc:docMk/>
            <pc:sldMasterMk cId="2253695231" sldId="2147483754"/>
            <pc:sldLayoutMk cId="2511530909" sldId="2147483924"/>
          </pc:sldLayoutMkLst>
          <pc:spChg chg="mod">
            <ac:chgData name="Hans Gelissen (DHL SSC Maastricht)" userId="1afa8510-4eed-4b73-a29e-678838cd8acd" providerId="ADAL" clId="{5DC7728A-B193-4E42-B707-5F97579A36D9}" dt="2023-06-27T09:35:10.640" v="33"/>
            <ac:spMkLst>
              <pc:docMk/>
              <pc:sldMasterMk cId="2253695231" sldId="2147483754"/>
              <pc:sldLayoutMk cId="2511530909" sldId="2147483924"/>
              <ac:spMk id="6" creationId="{150A1A1F-4D2D-85BA-7C70-4C5D9ACA1DE8}"/>
            </ac:spMkLst>
          </pc:spChg>
          <pc:grpChg chg="add mod">
            <ac:chgData name="Hans Gelissen (DHL SSC Maastricht)" userId="1afa8510-4eed-4b73-a29e-678838cd8acd" providerId="ADAL" clId="{5DC7728A-B193-4E42-B707-5F97579A36D9}" dt="2023-06-27T09:35:10.640" v="33"/>
            <ac:grpSpMkLst>
              <pc:docMk/>
              <pc:sldMasterMk cId="2253695231" sldId="2147483754"/>
              <pc:sldLayoutMk cId="2511530909" sldId="2147483924"/>
              <ac:grpSpMk id="2" creationId="{F7FB863C-B33D-3DD5-EFC0-73F4F77CCE0B}"/>
            </ac:grpSpMkLst>
          </pc:grpChg>
          <pc:grpChg chg="del">
            <ac:chgData name="Hans Gelissen (DHL SSC Maastricht)" userId="1afa8510-4eed-4b73-a29e-678838cd8acd" providerId="ADAL" clId="{5DC7728A-B193-4E42-B707-5F97579A36D9}" dt="2023-06-27T09:34:33.907" v="16" actId="478"/>
            <ac:grpSpMkLst>
              <pc:docMk/>
              <pc:sldMasterMk cId="2253695231" sldId="2147483754"/>
              <pc:sldLayoutMk cId="2511530909" sldId="2147483924"/>
              <ac:grpSpMk id="65" creationId="{1BDED68A-58CE-477A-8081-6078BF2E6B86}"/>
            </ac:grpSpMkLst>
          </pc:grp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7" creationId="{A1198B62-3954-F679-0739-18D33EFDC380}"/>
            </ac:picMkLst>
          </pc:pic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8" creationId="{7A54C6CF-31F7-5730-D995-8ADDEB95FE45}"/>
            </ac:picMkLst>
          </pc:pic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9" creationId="{10E5619A-9433-45C0-F223-227AF5BDD15F}"/>
            </ac:picMkLst>
          </pc:picChg>
        </pc:sldLayoutChg>
        <pc:sldLayoutChg chg="addSp delSp modSp mod">
          <pc:chgData name="Hans Gelissen (DHL SSC Maastricht)" userId="1afa8510-4eed-4b73-a29e-678838cd8acd" providerId="ADAL" clId="{5DC7728A-B193-4E42-B707-5F97579A36D9}" dt="2023-06-27T09:35:11.406" v="34"/>
          <pc:sldLayoutMkLst>
            <pc:docMk/>
            <pc:sldMasterMk cId="2253695231" sldId="2147483754"/>
            <pc:sldLayoutMk cId="1611940501" sldId="2147483925"/>
          </pc:sldLayoutMkLst>
          <pc:spChg chg="mod">
            <ac:chgData name="Hans Gelissen (DHL SSC Maastricht)" userId="1afa8510-4eed-4b73-a29e-678838cd8acd" providerId="ADAL" clId="{5DC7728A-B193-4E42-B707-5F97579A36D9}" dt="2023-06-27T09:35:11.406" v="34"/>
            <ac:spMkLst>
              <pc:docMk/>
              <pc:sldMasterMk cId="2253695231" sldId="2147483754"/>
              <pc:sldLayoutMk cId="1611940501" sldId="2147483925"/>
              <ac:spMk id="6" creationId="{1CBA513E-CB1F-E63B-2009-A72D73CF9178}"/>
            </ac:spMkLst>
          </pc:spChg>
          <pc:grpChg chg="add mod">
            <ac:chgData name="Hans Gelissen (DHL SSC Maastricht)" userId="1afa8510-4eed-4b73-a29e-678838cd8acd" providerId="ADAL" clId="{5DC7728A-B193-4E42-B707-5F97579A36D9}" dt="2023-06-27T09:35:11.406" v="34"/>
            <ac:grpSpMkLst>
              <pc:docMk/>
              <pc:sldMasterMk cId="2253695231" sldId="2147483754"/>
              <pc:sldLayoutMk cId="1611940501" sldId="2147483925"/>
              <ac:grpSpMk id="2" creationId="{C58D2257-C56B-DFE2-5AB2-556FA77EA265}"/>
            </ac:grpSpMkLst>
          </pc:grpChg>
          <pc:grpChg chg="del">
            <ac:chgData name="Hans Gelissen (DHL SSC Maastricht)" userId="1afa8510-4eed-4b73-a29e-678838cd8acd" providerId="ADAL" clId="{5DC7728A-B193-4E42-B707-5F97579A36D9}" dt="2023-06-27T09:34:35.118" v="17" actId="478"/>
            <ac:grpSpMkLst>
              <pc:docMk/>
              <pc:sldMasterMk cId="2253695231" sldId="2147483754"/>
              <pc:sldLayoutMk cId="1611940501" sldId="2147483925"/>
              <ac:grpSpMk id="65" creationId="{1BDED68A-58CE-477A-8081-6078BF2E6B86}"/>
            </ac:grpSpMkLst>
          </pc:grp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7" creationId="{7B741B4A-3601-9811-24CF-A8567B4EA592}"/>
            </ac:picMkLst>
          </pc:pic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8" creationId="{5D9BD470-476B-3670-EEB1-EC469B8ED46C}"/>
            </ac:picMkLst>
          </pc:pic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9" creationId="{82C826C5-7031-81DE-775C-77EB7D5C2681}"/>
            </ac:picMkLst>
          </pc:picChg>
        </pc:sldLayoutChg>
        <pc:sldLayoutChg chg="addSp delSp modSp mod">
          <pc:chgData name="Hans Gelissen (DHL SSC Maastricht)" userId="1afa8510-4eed-4b73-a29e-678838cd8acd" providerId="ADAL" clId="{5DC7728A-B193-4E42-B707-5F97579A36D9}" dt="2023-06-27T09:35:13.564" v="35"/>
          <pc:sldLayoutMkLst>
            <pc:docMk/>
            <pc:sldMasterMk cId="2253695231" sldId="2147483754"/>
            <pc:sldLayoutMk cId="1824327113" sldId="2147483926"/>
          </pc:sldLayoutMkLst>
          <pc:spChg chg="mod">
            <ac:chgData name="Hans Gelissen (DHL SSC Maastricht)" userId="1afa8510-4eed-4b73-a29e-678838cd8acd" providerId="ADAL" clId="{5DC7728A-B193-4E42-B707-5F97579A36D9}" dt="2023-06-27T09:35:13.564" v="35"/>
            <ac:spMkLst>
              <pc:docMk/>
              <pc:sldMasterMk cId="2253695231" sldId="2147483754"/>
              <pc:sldLayoutMk cId="1824327113" sldId="2147483926"/>
              <ac:spMk id="6" creationId="{68164460-BE58-69C0-3E03-65FD2E02CA8A}"/>
            </ac:spMkLst>
          </pc:spChg>
          <pc:grpChg chg="add mod">
            <ac:chgData name="Hans Gelissen (DHL SSC Maastricht)" userId="1afa8510-4eed-4b73-a29e-678838cd8acd" providerId="ADAL" clId="{5DC7728A-B193-4E42-B707-5F97579A36D9}" dt="2023-06-27T09:35:13.564" v="35"/>
            <ac:grpSpMkLst>
              <pc:docMk/>
              <pc:sldMasterMk cId="2253695231" sldId="2147483754"/>
              <pc:sldLayoutMk cId="1824327113" sldId="2147483926"/>
              <ac:grpSpMk id="2" creationId="{498C08A2-264D-F340-99FB-2EA278AE2B07}"/>
            </ac:grpSpMkLst>
          </pc:grpChg>
          <pc:grpChg chg="del">
            <ac:chgData name="Hans Gelissen (DHL SSC Maastricht)" userId="1afa8510-4eed-4b73-a29e-678838cd8acd" providerId="ADAL" clId="{5DC7728A-B193-4E42-B707-5F97579A36D9}" dt="2023-06-27T09:34:36.176" v="18" actId="478"/>
            <ac:grpSpMkLst>
              <pc:docMk/>
              <pc:sldMasterMk cId="2253695231" sldId="2147483754"/>
              <pc:sldLayoutMk cId="1824327113" sldId="2147483926"/>
              <ac:grpSpMk id="65" creationId="{1BDED68A-58CE-477A-8081-6078BF2E6B86}"/>
            </ac:grpSpMkLst>
          </pc:grp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7" creationId="{69893C7D-6D5D-FE81-62DC-5E28E92A28AC}"/>
            </ac:picMkLst>
          </pc:pic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8" creationId="{5BE2B408-0BC5-F310-997F-D4834FCC842D}"/>
            </ac:picMkLst>
          </pc:pic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9" creationId="{38A82FDF-3076-78AD-066E-EC6AB38ACEF7}"/>
            </ac:picMkLst>
          </pc:picChg>
        </pc:sldLayoutChg>
        <pc:sldLayoutChg chg="addSp delSp modSp mod">
          <pc:chgData name="Hans Gelissen (DHL SSC Maastricht)" userId="1afa8510-4eed-4b73-a29e-678838cd8acd" providerId="ADAL" clId="{5DC7728A-B193-4E42-B707-5F97579A36D9}" dt="2023-06-27T09:35:14.296" v="36"/>
          <pc:sldLayoutMkLst>
            <pc:docMk/>
            <pc:sldMasterMk cId="2253695231" sldId="2147483754"/>
            <pc:sldLayoutMk cId="3938857042" sldId="2147483927"/>
          </pc:sldLayoutMkLst>
          <pc:spChg chg="mod">
            <ac:chgData name="Hans Gelissen (DHL SSC Maastricht)" userId="1afa8510-4eed-4b73-a29e-678838cd8acd" providerId="ADAL" clId="{5DC7728A-B193-4E42-B707-5F97579A36D9}" dt="2023-06-27T09:35:14.296" v="36"/>
            <ac:spMkLst>
              <pc:docMk/>
              <pc:sldMasterMk cId="2253695231" sldId="2147483754"/>
              <pc:sldLayoutMk cId="3938857042" sldId="2147483927"/>
              <ac:spMk id="6" creationId="{C1B678CF-FBEF-A14A-6A79-176FC9D5D478}"/>
            </ac:spMkLst>
          </pc:spChg>
          <pc:grpChg chg="add mod">
            <ac:chgData name="Hans Gelissen (DHL SSC Maastricht)" userId="1afa8510-4eed-4b73-a29e-678838cd8acd" providerId="ADAL" clId="{5DC7728A-B193-4E42-B707-5F97579A36D9}" dt="2023-06-27T09:35:14.296" v="36"/>
            <ac:grpSpMkLst>
              <pc:docMk/>
              <pc:sldMasterMk cId="2253695231" sldId="2147483754"/>
              <pc:sldLayoutMk cId="3938857042" sldId="2147483927"/>
              <ac:grpSpMk id="2" creationId="{8B3A30EB-C172-26A1-9FD9-4809EB817D2E}"/>
            </ac:grpSpMkLst>
          </pc:grpChg>
          <pc:grpChg chg="del">
            <ac:chgData name="Hans Gelissen (DHL SSC Maastricht)" userId="1afa8510-4eed-4b73-a29e-678838cd8acd" providerId="ADAL" clId="{5DC7728A-B193-4E42-B707-5F97579A36D9}" dt="2023-06-27T09:34:37.329" v="19" actId="478"/>
            <ac:grpSpMkLst>
              <pc:docMk/>
              <pc:sldMasterMk cId="2253695231" sldId="2147483754"/>
              <pc:sldLayoutMk cId="3938857042" sldId="2147483927"/>
              <ac:grpSpMk id="65" creationId="{1BDED68A-58CE-477A-8081-6078BF2E6B86}"/>
            </ac:grpSpMkLst>
          </pc:grp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7" creationId="{1F5AE004-E92B-C7F3-66B4-D62AA451926F}"/>
            </ac:picMkLst>
          </pc:pic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8" creationId="{58B45206-BB52-3CBF-356C-FD44932F47A3}"/>
            </ac:picMkLst>
          </pc:pic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9" creationId="{F9AD28AC-8EA5-9758-B638-9132DB654164}"/>
            </ac:picMkLst>
          </pc:picChg>
        </pc:sldLayoutChg>
        <pc:sldLayoutChg chg="addSp delSp modSp mod">
          <pc:chgData name="Hans Gelissen (DHL SSC Maastricht)" userId="1afa8510-4eed-4b73-a29e-678838cd8acd" providerId="ADAL" clId="{5DC7728A-B193-4E42-B707-5F97579A36D9}" dt="2023-06-27T09:35:15.065" v="37"/>
          <pc:sldLayoutMkLst>
            <pc:docMk/>
            <pc:sldMasterMk cId="2253695231" sldId="2147483754"/>
            <pc:sldLayoutMk cId="1977547776" sldId="2147483928"/>
          </pc:sldLayoutMkLst>
          <pc:spChg chg="mod">
            <ac:chgData name="Hans Gelissen (DHL SSC Maastricht)" userId="1afa8510-4eed-4b73-a29e-678838cd8acd" providerId="ADAL" clId="{5DC7728A-B193-4E42-B707-5F97579A36D9}" dt="2023-06-27T09:35:15.065" v="37"/>
            <ac:spMkLst>
              <pc:docMk/>
              <pc:sldMasterMk cId="2253695231" sldId="2147483754"/>
              <pc:sldLayoutMk cId="1977547776" sldId="2147483928"/>
              <ac:spMk id="6" creationId="{A56235DF-D5B0-60D0-BD0B-AAAABFAF86AA}"/>
            </ac:spMkLst>
          </pc:spChg>
          <pc:grpChg chg="add mod">
            <ac:chgData name="Hans Gelissen (DHL SSC Maastricht)" userId="1afa8510-4eed-4b73-a29e-678838cd8acd" providerId="ADAL" clId="{5DC7728A-B193-4E42-B707-5F97579A36D9}" dt="2023-06-27T09:35:15.065" v="37"/>
            <ac:grpSpMkLst>
              <pc:docMk/>
              <pc:sldMasterMk cId="2253695231" sldId="2147483754"/>
              <pc:sldLayoutMk cId="1977547776" sldId="2147483928"/>
              <ac:grpSpMk id="2" creationId="{A88625F2-FC69-6AAA-40FB-7004F9AB6017}"/>
            </ac:grpSpMkLst>
          </pc:grpChg>
          <pc:grpChg chg="del">
            <ac:chgData name="Hans Gelissen (DHL SSC Maastricht)" userId="1afa8510-4eed-4b73-a29e-678838cd8acd" providerId="ADAL" clId="{5DC7728A-B193-4E42-B707-5F97579A36D9}" dt="2023-06-27T09:34:38.413" v="20" actId="478"/>
            <ac:grpSpMkLst>
              <pc:docMk/>
              <pc:sldMasterMk cId="2253695231" sldId="2147483754"/>
              <pc:sldLayoutMk cId="1977547776" sldId="2147483928"/>
              <ac:grpSpMk id="65" creationId="{1BDED68A-58CE-477A-8081-6078BF2E6B86}"/>
            </ac:grpSpMkLst>
          </pc:grp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7" creationId="{24C1BAAC-DF5C-DA31-6523-245676CDC3BC}"/>
            </ac:picMkLst>
          </pc:pic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8" creationId="{F62384F0-47D9-B3C7-C0C8-4787723F9D5D}"/>
            </ac:picMkLst>
          </pc:pic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9" creationId="{B6029AA7-1707-C3BB-66C4-0FEC66AAED61}"/>
            </ac:picMkLst>
          </pc:picChg>
        </pc:sldLayoutChg>
        <pc:sldLayoutChg chg="addSp delSp modSp mod">
          <pc:chgData name="Hans Gelissen (DHL SSC Maastricht)" userId="1afa8510-4eed-4b73-a29e-678838cd8acd" providerId="ADAL" clId="{5DC7728A-B193-4E42-B707-5F97579A36D9}" dt="2023-06-27T09:35:17.136" v="39"/>
          <pc:sldLayoutMkLst>
            <pc:docMk/>
            <pc:sldMasterMk cId="2253695231" sldId="2147483754"/>
            <pc:sldLayoutMk cId="2904998504" sldId="2147483974"/>
          </pc:sldLayoutMkLst>
          <pc:spChg chg="mod">
            <ac:chgData name="Hans Gelissen (DHL SSC Maastricht)" userId="1afa8510-4eed-4b73-a29e-678838cd8acd" providerId="ADAL" clId="{5DC7728A-B193-4E42-B707-5F97579A36D9}" dt="2023-06-27T09:35:17.136" v="39"/>
            <ac:spMkLst>
              <pc:docMk/>
              <pc:sldMasterMk cId="2253695231" sldId="2147483754"/>
              <pc:sldLayoutMk cId="2904998504" sldId="2147483974"/>
              <ac:spMk id="6" creationId="{33758B7B-40C0-B729-9069-F657C381D72D}"/>
            </ac:spMkLst>
          </pc:spChg>
          <pc:grpChg chg="add mod">
            <ac:chgData name="Hans Gelissen (DHL SSC Maastricht)" userId="1afa8510-4eed-4b73-a29e-678838cd8acd" providerId="ADAL" clId="{5DC7728A-B193-4E42-B707-5F97579A36D9}" dt="2023-06-27T09:35:17.136" v="39"/>
            <ac:grpSpMkLst>
              <pc:docMk/>
              <pc:sldMasterMk cId="2253695231" sldId="2147483754"/>
              <pc:sldLayoutMk cId="2904998504" sldId="2147483974"/>
              <ac:grpSpMk id="2" creationId="{BC77738E-1E5F-79DC-445F-DAA3B205B7B3}"/>
            </ac:grpSpMkLst>
          </pc:grpChg>
          <pc:grpChg chg="del">
            <ac:chgData name="Hans Gelissen (DHL SSC Maastricht)" userId="1afa8510-4eed-4b73-a29e-678838cd8acd" providerId="ADAL" clId="{5DC7728A-B193-4E42-B707-5F97579A36D9}" dt="2023-06-27T09:34:41.350" v="22" actId="478"/>
            <ac:grpSpMkLst>
              <pc:docMk/>
              <pc:sldMasterMk cId="2253695231" sldId="2147483754"/>
              <pc:sldLayoutMk cId="2904998504" sldId="2147483974"/>
              <ac:grpSpMk id="65" creationId="{1BDED68A-58CE-477A-8081-6078BF2E6B86}"/>
            </ac:grpSpMkLst>
          </pc:grp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7" creationId="{DF189606-D64C-3CAD-CFE1-ABA763AD0727}"/>
            </ac:picMkLst>
          </pc:pic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8" creationId="{1DD7633B-F760-E395-157B-55FD8FD547C9}"/>
            </ac:picMkLst>
          </pc:pic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9" creationId="{1FD53DCD-6951-926D-67CB-10C06DE8127A}"/>
            </ac:picMkLst>
          </pc:picChg>
        </pc:sldLayoutChg>
        <pc:sldLayoutChg chg="addSp delSp modSp mod">
          <pc:chgData name="Hans Gelissen (DHL SSC Maastricht)" userId="1afa8510-4eed-4b73-a29e-678838cd8acd" providerId="ADAL" clId="{5DC7728A-B193-4E42-B707-5F97579A36D9}" dt="2023-06-27T09:35:18.060" v="40"/>
          <pc:sldLayoutMkLst>
            <pc:docMk/>
            <pc:sldMasterMk cId="2253695231" sldId="2147483754"/>
            <pc:sldLayoutMk cId="40428502" sldId="2147483975"/>
          </pc:sldLayoutMkLst>
          <pc:spChg chg="mod">
            <ac:chgData name="Hans Gelissen (DHL SSC Maastricht)" userId="1afa8510-4eed-4b73-a29e-678838cd8acd" providerId="ADAL" clId="{5DC7728A-B193-4E42-B707-5F97579A36D9}" dt="2023-06-27T09:35:18.060" v="40"/>
            <ac:spMkLst>
              <pc:docMk/>
              <pc:sldMasterMk cId="2253695231" sldId="2147483754"/>
              <pc:sldLayoutMk cId="40428502" sldId="2147483975"/>
              <ac:spMk id="6" creationId="{AB5926DE-6D18-24F7-76A3-4B1ED049FBCE}"/>
            </ac:spMkLst>
          </pc:spChg>
          <pc:grpChg chg="add mod">
            <ac:chgData name="Hans Gelissen (DHL SSC Maastricht)" userId="1afa8510-4eed-4b73-a29e-678838cd8acd" providerId="ADAL" clId="{5DC7728A-B193-4E42-B707-5F97579A36D9}" dt="2023-06-27T09:35:18.060" v="40"/>
            <ac:grpSpMkLst>
              <pc:docMk/>
              <pc:sldMasterMk cId="2253695231" sldId="2147483754"/>
              <pc:sldLayoutMk cId="40428502" sldId="2147483975"/>
              <ac:grpSpMk id="2" creationId="{9A0A3853-7AA8-B58E-3AF0-8FC99F17D3BC}"/>
            </ac:grpSpMkLst>
          </pc:grpChg>
          <pc:grpChg chg="del">
            <ac:chgData name="Hans Gelissen (DHL SSC Maastricht)" userId="1afa8510-4eed-4b73-a29e-678838cd8acd" providerId="ADAL" clId="{5DC7728A-B193-4E42-B707-5F97579A36D9}" dt="2023-06-27T09:34:43.360" v="23" actId="478"/>
            <ac:grpSpMkLst>
              <pc:docMk/>
              <pc:sldMasterMk cId="2253695231" sldId="2147483754"/>
              <pc:sldLayoutMk cId="40428502" sldId="2147483975"/>
              <ac:grpSpMk id="65" creationId="{1BDED68A-58CE-477A-8081-6078BF2E6B86}"/>
            </ac:grpSpMkLst>
          </pc:grp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7" creationId="{BA2DE7B0-A997-A4AF-1469-A1DBD15EDDBA}"/>
            </ac:picMkLst>
          </pc:pic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8" creationId="{142BBA0B-4195-43EF-84F9-EDB5B51C53F2}"/>
            </ac:picMkLst>
          </pc:pic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9" creationId="{C6345F75-5260-A610-FE9E-1E8C62DC2DF5}"/>
            </ac:picMkLst>
          </pc:picChg>
        </pc:sldLayoutChg>
        <pc:sldLayoutChg chg="addSp delSp modSp mod">
          <pc:chgData name="Hans Gelissen (DHL SSC Maastricht)" userId="1afa8510-4eed-4b73-a29e-678838cd8acd" providerId="ADAL" clId="{5DC7728A-B193-4E42-B707-5F97579A36D9}" dt="2023-06-27T09:35:15.905" v="38"/>
          <pc:sldLayoutMkLst>
            <pc:docMk/>
            <pc:sldMasterMk cId="2253695231" sldId="2147483754"/>
            <pc:sldLayoutMk cId="2180802559" sldId="2147483976"/>
          </pc:sldLayoutMkLst>
          <pc:spChg chg="mod">
            <ac:chgData name="Hans Gelissen (DHL SSC Maastricht)" userId="1afa8510-4eed-4b73-a29e-678838cd8acd" providerId="ADAL" clId="{5DC7728A-B193-4E42-B707-5F97579A36D9}" dt="2023-06-27T09:35:15.905" v="38"/>
            <ac:spMkLst>
              <pc:docMk/>
              <pc:sldMasterMk cId="2253695231" sldId="2147483754"/>
              <pc:sldLayoutMk cId="2180802559" sldId="2147483976"/>
              <ac:spMk id="6" creationId="{A4739A1B-4BE1-4ED4-C6B7-F14CDEA6D730}"/>
            </ac:spMkLst>
          </pc:spChg>
          <pc:grpChg chg="add mod">
            <ac:chgData name="Hans Gelissen (DHL SSC Maastricht)" userId="1afa8510-4eed-4b73-a29e-678838cd8acd" providerId="ADAL" clId="{5DC7728A-B193-4E42-B707-5F97579A36D9}" dt="2023-06-27T09:35:15.905" v="38"/>
            <ac:grpSpMkLst>
              <pc:docMk/>
              <pc:sldMasterMk cId="2253695231" sldId="2147483754"/>
              <pc:sldLayoutMk cId="2180802559" sldId="2147483976"/>
              <ac:grpSpMk id="2" creationId="{B2D4EBE8-CEE6-E3C2-5CA9-5E656E4E1C2D}"/>
            </ac:grpSpMkLst>
          </pc:grpChg>
          <pc:grpChg chg="del">
            <ac:chgData name="Hans Gelissen (DHL SSC Maastricht)" userId="1afa8510-4eed-4b73-a29e-678838cd8acd" providerId="ADAL" clId="{5DC7728A-B193-4E42-B707-5F97579A36D9}" dt="2023-06-27T09:34:39.610" v="21" actId="478"/>
            <ac:grpSpMkLst>
              <pc:docMk/>
              <pc:sldMasterMk cId="2253695231" sldId="2147483754"/>
              <pc:sldLayoutMk cId="2180802559" sldId="2147483976"/>
              <ac:grpSpMk id="65" creationId="{1BDED68A-58CE-477A-8081-6078BF2E6B86}"/>
            </ac:grpSpMkLst>
          </pc:grp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7" creationId="{85AFAE57-355C-62E9-E403-BA1D560DEB50}"/>
            </ac:picMkLst>
          </pc:pic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8" creationId="{AEA50F90-3DF4-6476-DF1A-7B745CBB17E4}"/>
            </ac:picMkLst>
          </pc:pic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9" creationId="{5F951137-54CE-1672-1D9C-3836C23760B0}"/>
            </ac:picMkLst>
          </pc:picChg>
        </pc:sldLayoutChg>
      </pc:sldMasterChg>
      <pc:sldMasterChg chg="modSldLayout">
        <pc:chgData name="Hans Gelissen (DHL SSC Maastricht)" userId="1afa8510-4eed-4b73-a29e-678838cd8acd" providerId="ADAL" clId="{5DC7728A-B193-4E42-B707-5F97579A36D9}" dt="2023-06-27T09:36:02.419" v="72"/>
        <pc:sldMasterMkLst>
          <pc:docMk/>
          <pc:sldMasterMk cId="2791372136" sldId="2147483777"/>
        </pc:sldMasterMkLst>
        <pc:sldLayoutChg chg="addSp delSp modSp mod">
          <pc:chgData name="Hans Gelissen (DHL SSC Maastricht)" userId="1afa8510-4eed-4b73-a29e-678838cd8acd" providerId="ADAL" clId="{5DC7728A-B193-4E42-B707-5F97579A36D9}" dt="2023-06-27T09:36:02.419" v="72"/>
          <pc:sldLayoutMkLst>
            <pc:docMk/>
            <pc:sldMasterMk cId="2791372136" sldId="2147483777"/>
            <pc:sldLayoutMk cId="1312088382" sldId="2147483778"/>
          </pc:sldLayoutMkLst>
          <pc:spChg chg="mod">
            <ac:chgData name="Hans Gelissen (DHL SSC Maastricht)" userId="1afa8510-4eed-4b73-a29e-678838cd8acd" providerId="ADAL" clId="{5DC7728A-B193-4E42-B707-5F97579A36D9}" dt="2023-06-27T09:36:02.419" v="72"/>
            <ac:spMkLst>
              <pc:docMk/>
              <pc:sldMasterMk cId="2791372136" sldId="2147483777"/>
              <pc:sldLayoutMk cId="1312088382" sldId="2147483778"/>
              <ac:spMk id="3" creationId="{5065638E-8872-1A62-CEA8-22B7C594ECCA}"/>
            </ac:spMkLst>
          </pc:spChg>
          <pc:grpChg chg="add mod">
            <ac:chgData name="Hans Gelissen (DHL SSC Maastricht)" userId="1afa8510-4eed-4b73-a29e-678838cd8acd" providerId="ADAL" clId="{5DC7728A-B193-4E42-B707-5F97579A36D9}" dt="2023-06-27T09:36:02.419" v="72"/>
            <ac:grpSpMkLst>
              <pc:docMk/>
              <pc:sldMasterMk cId="2791372136" sldId="2147483777"/>
              <pc:sldLayoutMk cId="1312088382" sldId="2147483778"/>
              <ac:grpSpMk id="2" creationId="{64636D2D-766F-2175-AB89-8492205155E3}"/>
            </ac:grpSpMkLst>
          </pc:grpChg>
          <pc:grpChg chg="del">
            <ac:chgData name="Hans Gelissen (DHL SSC Maastricht)" userId="1afa8510-4eed-4b73-a29e-678838cd8acd" providerId="ADAL" clId="{5DC7728A-B193-4E42-B707-5F97579A36D9}" dt="2023-06-27T09:35:24.885" v="41" actId="478"/>
            <ac:grpSpMkLst>
              <pc:docMk/>
              <pc:sldMasterMk cId="2791372136" sldId="2147483777"/>
              <pc:sldLayoutMk cId="1312088382" sldId="2147483778"/>
              <ac:grpSpMk id="19" creationId="{415A3D1A-37E6-49DF-9012-F8D327340F26}"/>
            </ac:grpSpMkLst>
          </pc:grp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4" creationId="{BE901E51-0E5B-47D1-3CB5-9C339FA13D8D}"/>
            </ac:picMkLst>
          </pc:pic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5" creationId="{16386E44-7124-FFF1-2E60-7B5BB87DEA7B}"/>
            </ac:picMkLst>
          </pc:pic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6" creationId="{994A688E-E070-B4D9-9392-53EB59258877}"/>
            </ac:picMkLst>
          </pc:picChg>
        </pc:sldLayoutChg>
        <pc:sldLayoutChg chg="addSp delSp modSp mod">
          <pc:chgData name="Hans Gelissen (DHL SSC Maastricht)" userId="1afa8510-4eed-4b73-a29e-678838cd8acd" providerId="ADAL" clId="{5DC7728A-B193-4E42-B707-5F97579A36D9}" dt="2023-06-27T09:36:01.740" v="71"/>
          <pc:sldLayoutMkLst>
            <pc:docMk/>
            <pc:sldMasterMk cId="2791372136" sldId="2147483777"/>
            <pc:sldLayoutMk cId="1377313598" sldId="2147483779"/>
          </pc:sldLayoutMkLst>
          <pc:spChg chg="mod">
            <ac:chgData name="Hans Gelissen (DHL SSC Maastricht)" userId="1afa8510-4eed-4b73-a29e-678838cd8acd" providerId="ADAL" clId="{5DC7728A-B193-4E42-B707-5F97579A36D9}" dt="2023-06-27T09:36:01.740" v="71"/>
            <ac:spMkLst>
              <pc:docMk/>
              <pc:sldMasterMk cId="2791372136" sldId="2147483777"/>
              <pc:sldLayoutMk cId="1377313598" sldId="2147483779"/>
              <ac:spMk id="3" creationId="{04AEE2FA-0CF8-1975-8801-0196B63F5668}"/>
            </ac:spMkLst>
          </pc:spChg>
          <pc:grpChg chg="add mod">
            <ac:chgData name="Hans Gelissen (DHL SSC Maastricht)" userId="1afa8510-4eed-4b73-a29e-678838cd8acd" providerId="ADAL" clId="{5DC7728A-B193-4E42-B707-5F97579A36D9}" dt="2023-06-27T09:36:01.740" v="71"/>
            <ac:grpSpMkLst>
              <pc:docMk/>
              <pc:sldMasterMk cId="2791372136" sldId="2147483777"/>
              <pc:sldLayoutMk cId="1377313598" sldId="2147483779"/>
              <ac:grpSpMk id="2" creationId="{FB5F193C-C422-A08D-02A3-94B24BAADDDC}"/>
            </ac:grpSpMkLst>
          </pc:grpChg>
          <pc:grpChg chg="del">
            <ac:chgData name="Hans Gelissen (DHL SSC Maastricht)" userId="1afa8510-4eed-4b73-a29e-678838cd8acd" providerId="ADAL" clId="{5DC7728A-B193-4E42-B707-5F97579A36D9}" dt="2023-06-27T09:35:25.927" v="42" actId="478"/>
            <ac:grpSpMkLst>
              <pc:docMk/>
              <pc:sldMasterMk cId="2791372136" sldId="2147483777"/>
              <pc:sldLayoutMk cId="1377313598" sldId="2147483779"/>
              <ac:grpSpMk id="65" creationId="{1BDED68A-58CE-477A-8081-6078BF2E6B86}"/>
            </ac:grpSpMkLst>
          </pc:grp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4" creationId="{C6E8B07D-7BC9-D0EE-12C6-9E657CE27536}"/>
            </ac:picMkLst>
          </pc:pic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5" creationId="{73AA5F0D-19E7-CA8D-5038-8E181FFB52C3}"/>
            </ac:picMkLst>
          </pc:pic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6" creationId="{CE7166ED-3247-EF3A-FDA5-1BDF4E5F3E7D}"/>
            </ac:picMkLst>
          </pc:picChg>
        </pc:sldLayoutChg>
        <pc:sldLayoutChg chg="addSp delSp modSp mod">
          <pc:chgData name="Hans Gelissen (DHL SSC Maastricht)" userId="1afa8510-4eed-4b73-a29e-678838cd8acd" providerId="ADAL" clId="{5DC7728A-B193-4E42-B707-5F97579A36D9}" dt="2023-06-27T09:35:59.097" v="69"/>
          <pc:sldLayoutMkLst>
            <pc:docMk/>
            <pc:sldMasterMk cId="2791372136" sldId="2147483777"/>
            <pc:sldLayoutMk cId="3116599637" sldId="2147483834"/>
          </pc:sldLayoutMkLst>
          <pc:spChg chg="mod">
            <ac:chgData name="Hans Gelissen (DHL SSC Maastricht)" userId="1afa8510-4eed-4b73-a29e-678838cd8acd" providerId="ADAL" clId="{5DC7728A-B193-4E42-B707-5F97579A36D9}" dt="2023-06-27T09:35:59.097" v="69"/>
            <ac:spMkLst>
              <pc:docMk/>
              <pc:sldMasterMk cId="2791372136" sldId="2147483777"/>
              <pc:sldLayoutMk cId="3116599637" sldId="2147483834"/>
              <ac:spMk id="4" creationId="{A15156EC-A839-7AD6-04CB-B069C0B044D9}"/>
            </ac:spMkLst>
          </pc:spChg>
          <pc:grpChg chg="add mod">
            <ac:chgData name="Hans Gelissen (DHL SSC Maastricht)" userId="1afa8510-4eed-4b73-a29e-678838cd8acd" providerId="ADAL" clId="{5DC7728A-B193-4E42-B707-5F97579A36D9}" dt="2023-06-27T09:35:59.097" v="69"/>
            <ac:grpSpMkLst>
              <pc:docMk/>
              <pc:sldMasterMk cId="2791372136" sldId="2147483777"/>
              <pc:sldLayoutMk cId="3116599637" sldId="2147483834"/>
              <ac:grpSpMk id="2" creationId="{4465189D-0161-2690-8EB6-C76205F9EBFC}"/>
            </ac:grpSpMkLst>
          </pc:grpChg>
          <pc:grpChg chg="del">
            <ac:chgData name="Hans Gelissen (DHL SSC Maastricht)" userId="1afa8510-4eed-4b73-a29e-678838cd8acd" providerId="ADAL" clId="{5DC7728A-B193-4E42-B707-5F97579A36D9}" dt="2023-06-27T09:35:27.904" v="44" actId="478"/>
            <ac:grpSpMkLst>
              <pc:docMk/>
              <pc:sldMasterMk cId="2791372136" sldId="2147483777"/>
              <pc:sldLayoutMk cId="3116599637" sldId="2147483834"/>
              <ac:grpSpMk id="65" creationId="{1BDED68A-58CE-477A-8081-6078BF2E6B86}"/>
            </ac:grpSpMkLst>
          </pc:grp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5" creationId="{5F34E7CA-CE61-FEC8-EF2C-403AF351672E}"/>
            </ac:picMkLst>
          </pc:pic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6" creationId="{86F1F580-966B-F5AD-1320-6CF76D2077FF}"/>
            </ac:picMkLst>
          </pc:pic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7" creationId="{89F651E4-44CB-E1EF-C7CC-953381AF52CF}"/>
            </ac:picMkLst>
          </pc:picChg>
        </pc:sldLayoutChg>
        <pc:sldLayoutChg chg="addSp delSp modSp mod">
          <pc:chgData name="Hans Gelissen (DHL SSC Maastricht)" userId="1afa8510-4eed-4b73-a29e-678838cd8acd" providerId="ADAL" clId="{5DC7728A-B193-4E42-B707-5F97579A36D9}" dt="2023-06-27T09:35:59.860" v="70"/>
          <pc:sldLayoutMkLst>
            <pc:docMk/>
            <pc:sldMasterMk cId="2791372136" sldId="2147483777"/>
            <pc:sldLayoutMk cId="132838335" sldId="2147483835"/>
          </pc:sldLayoutMkLst>
          <pc:spChg chg="mod">
            <ac:chgData name="Hans Gelissen (DHL SSC Maastricht)" userId="1afa8510-4eed-4b73-a29e-678838cd8acd" providerId="ADAL" clId="{5DC7728A-B193-4E42-B707-5F97579A36D9}" dt="2023-06-27T09:35:59.860" v="70"/>
            <ac:spMkLst>
              <pc:docMk/>
              <pc:sldMasterMk cId="2791372136" sldId="2147483777"/>
              <pc:sldLayoutMk cId="132838335" sldId="2147483835"/>
              <ac:spMk id="3" creationId="{CEE2A1EF-5E0F-6133-5F22-D2F8FE448BE6}"/>
            </ac:spMkLst>
          </pc:spChg>
          <pc:grpChg chg="add mod">
            <ac:chgData name="Hans Gelissen (DHL SSC Maastricht)" userId="1afa8510-4eed-4b73-a29e-678838cd8acd" providerId="ADAL" clId="{5DC7728A-B193-4E42-B707-5F97579A36D9}" dt="2023-06-27T09:35:59.860" v="70"/>
            <ac:grpSpMkLst>
              <pc:docMk/>
              <pc:sldMasterMk cId="2791372136" sldId="2147483777"/>
              <pc:sldLayoutMk cId="132838335" sldId="2147483835"/>
              <ac:grpSpMk id="2" creationId="{44AFBD3F-AD5D-8600-AC6D-EB20C8BA1297}"/>
            </ac:grpSpMkLst>
          </pc:grpChg>
          <pc:grpChg chg="del">
            <ac:chgData name="Hans Gelissen (DHL SSC Maastricht)" userId="1afa8510-4eed-4b73-a29e-678838cd8acd" providerId="ADAL" clId="{5DC7728A-B193-4E42-B707-5F97579A36D9}" dt="2023-06-27T09:35:26.893" v="43" actId="478"/>
            <ac:grpSpMkLst>
              <pc:docMk/>
              <pc:sldMasterMk cId="2791372136" sldId="2147483777"/>
              <pc:sldLayoutMk cId="132838335" sldId="2147483835"/>
              <ac:grpSpMk id="65" creationId="{1BDED68A-58CE-477A-8081-6078BF2E6B86}"/>
            </ac:grpSpMkLst>
          </pc:grp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4" creationId="{B679AF60-A914-C7F9-CE72-D93C89E049DF}"/>
            </ac:picMkLst>
          </pc:pic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5" creationId="{0B81CACC-91FB-66E5-1BBB-17ABAD266478}"/>
            </ac:picMkLst>
          </pc:pic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6" creationId="{EF3F2945-0234-4EC6-335F-23EE6BDF7D02}"/>
            </ac:picMkLst>
          </pc:picChg>
        </pc:sldLayoutChg>
        <pc:sldLayoutChg chg="addSp delSp modSp mod">
          <pc:chgData name="Hans Gelissen (DHL SSC Maastricht)" userId="1afa8510-4eed-4b73-a29e-678838cd8acd" providerId="ADAL" clId="{5DC7728A-B193-4E42-B707-5F97579A36D9}" dt="2023-06-27T09:35:58.287" v="68"/>
          <pc:sldLayoutMkLst>
            <pc:docMk/>
            <pc:sldMasterMk cId="2791372136" sldId="2147483777"/>
            <pc:sldLayoutMk cId="2840415572" sldId="2147483877"/>
          </pc:sldLayoutMkLst>
          <pc:spChg chg="mod">
            <ac:chgData name="Hans Gelissen (DHL SSC Maastricht)" userId="1afa8510-4eed-4b73-a29e-678838cd8acd" providerId="ADAL" clId="{5DC7728A-B193-4E42-B707-5F97579A36D9}" dt="2023-06-27T09:35:58.287" v="68"/>
            <ac:spMkLst>
              <pc:docMk/>
              <pc:sldMasterMk cId="2791372136" sldId="2147483777"/>
              <pc:sldLayoutMk cId="2840415572" sldId="2147483877"/>
              <ac:spMk id="4" creationId="{B1D882F3-929B-7F2A-77D4-7F9B9F0AC473}"/>
            </ac:spMkLst>
          </pc:spChg>
          <pc:grpChg chg="add mod">
            <ac:chgData name="Hans Gelissen (DHL SSC Maastricht)" userId="1afa8510-4eed-4b73-a29e-678838cd8acd" providerId="ADAL" clId="{5DC7728A-B193-4E42-B707-5F97579A36D9}" dt="2023-06-27T09:35:58.287" v="68"/>
            <ac:grpSpMkLst>
              <pc:docMk/>
              <pc:sldMasterMk cId="2791372136" sldId="2147483777"/>
              <pc:sldLayoutMk cId="2840415572" sldId="2147483877"/>
              <ac:grpSpMk id="2" creationId="{79B48FD4-C636-D21C-6736-011505A2773A}"/>
            </ac:grpSpMkLst>
          </pc:grpChg>
          <pc:grpChg chg="del">
            <ac:chgData name="Hans Gelissen (DHL SSC Maastricht)" userId="1afa8510-4eed-4b73-a29e-678838cd8acd" providerId="ADAL" clId="{5DC7728A-B193-4E42-B707-5F97579A36D9}" dt="2023-06-27T09:35:28.899" v="45" actId="478"/>
            <ac:grpSpMkLst>
              <pc:docMk/>
              <pc:sldMasterMk cId="2791372136" sldId="2147483777"/>
              <pc:sldLayoutMk cId="2840415572" sldId="2147483877"/>
              <ac:grpSpMk id="65" creationId="{1BDED68A-58CE-477A-8081-6078BF2E6B86}"/>
            </ac:grpSpMkLst>
          </pc:grp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5" creationId="{77D59EB9-0222-F9DB-29E1-659319A1A3DB}"/>
            </ac:picMkLst>
          </pc:pic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6" creationId="{7AFAF643-4D94-1A70-BF26-2DE352681940}"/>
            </ac:picMkLst>
          </pc:pic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7" creationId="{BD238BFD-5C7B-CB54-873B-F518D1CD063B}"/>
            </ac:picMkLst>
          </pc:picChg>
        </pc:sldLayoutChg>
        <pc:sldLayoutChg chg="addSp delSp modSp mod">
          <pc:chgData name="Hans Gelissen (DHL SSC Maastricht)" userId="1afa8510-4eed-4b73-a29e-678838cd8acd" providerId="ADAL" clId="{5DC7728A-B193-4E42-B707-5F97579A36D9}" dt="2023-06-27T09:35:54.851" v="66"/>
          <pc:sldLayoutMkLst>
            <pc:docMk/>
            <pc:sldMasterMk cId="2791372136" sldId="2147483777"/>
            <pc:sldLayoutMk cId="2714381034" sldId="2147483878"/>
          </pc:sldLayoutMkLst>
          <pc:spChg chg="mod">
            <ac:chgData name="Hans Gelissen (DHL SSC Maastricht)" userId="1afa8510-4eed-4b73-a29e-678838cd8acd" providerId="ADAL" clId="{5DC7728A-B193-4E42-B707-5F97579A36D9}" dt="2023-06-27T09:35:54.851" v="66"/>
            <ac:spMkLst>
              <pc:docMk/>
              <pc:sldMasterMk cId="2791372136" sldId="2147483777"/>
              <pc:sldLayoutMk cId="2714381034" sldId="2147483878"/>
              <ac:spMk id="4" creationId="{70B9BD01-D732-2BD3-A1D1-DF2FE3C6D0AC}"/>
            </ac:spMkLst>
          </pc:spChg>
          <pc:grpChg chg="add mod">
            <ac:chgData name="Hans Gelissen (DHL SSC Maastricht)" userId="1afa8510-4eed-4b73-a29e-678838cd8acd" providerId="ADAL" clId="{5DC7728A-B193-4E42-B707-5F97579A36D9}" dt="2023-06-27T09:35:54.851" v="66"/>
            <ac:grpSpMkLst>
              <pc:docMk/>
              <pc:sldMasterMk cId="2791372136" sldId="2147483777"/>
              <pc:sldLayoutMk cId="2714381034" sldId="2147483878"/>
              <ac:grpSpMk id="2" creationId="{956E9473-2548-2170-2964-117767E07F29}"/>
            </ac:grpSpMkLst>
          </pc:grpChg>
          <pc:grpChg chg="del">
            <ac:chgData name="Hans Gelissen (DHL SSC Maastricht)" userId="1afa8510-4eed-4b73-a29e-678838cd8acd" providerId="ADAL" clId="{5DC7728A-B193-4E42-B707-5F97579A36D9}" dt="2023-06-27T09:35:29.940" v="46" actId="478"/>
            <ac:grpSpMkLst>
              <pc:docMk/>
              <pc:sldMasterMk cId="2791372136" sldId="2147483777"/>
              <pc:sldLayoutMk cId="2714381034" sldId="2147483878"/>
              <ac:grpSpMk id="65" creationId="{1BDED68A-58CE-477A-8081-6078BF2E6B86}"/>
            </ac:grpSpMkLst>
          </pc:grp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5" creationId="{D886544A-0965-E24C-4CBB-5E0479798E61}"/>
            </ac:picMkLst>
          </pc:pic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6" creationId="{3B0F394E-649C-E31F-DE95-E6FC26ECBDF8}"/>
            </ac:picMkLst>
          </pc:pic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7" creationId="{4EDB68D2-CBDA-C814-893D-1BEC3B8F83C2}"/>
            </ac:picMkLst>
          </pc:picChg>
        </pc:sldLayoutChg>
        <pc:sldLayoutChg chg="addSp delSp modSp mod">
          <pc:chgData name="Hans Gelissen (DHL SSC Maastricht)" userId="1afa8510-4eed-4b73-a29e-678838cd8acd" providerId="ADAL" clId="{5DC7728A-B193-4E42-B707-5F97579A36D9}" dt="2023-06-27T09:35:56.904" v="67"/>
          <pc:sldLayoutMkLst>
            <pc:docMk/>
            <pc:sldMasterMk cId="2791372136" sldId="2147483777"/>
            <pc:sldLayoutMk cId="3714924026" sldId="2147483879"/>
          </pc:sldLayoutMkLst>
          <pc:spChg chg="mod">
            <ac:chgData name="Hans Gelissen (DHL SSC Maastricht)" userId="1afa8510-4eed-4b73-a29e-678838cd8acd" providerId="ADAL" clId="{5DC7728A-B193-4E42-B707-5F97579A36D9}" dt="2023-06-27T09:35:56.904" v="67"/>
            <ac:spMkLst>
              <pc:docMk/>
              <pc:sldMasterMk cId="2791372136" sldId="2147483777"/>
              <pc:sldLayoutMk cId="3714924026" sldId="2147483879"/>
              <ac:spMk id="4" creationId="{3F8D2354-D0E1-D6B3-DFD5-B012C6761A03}"/>
            </ac:spMkLst>
          </pc:spChg>
          <pc:grpChg chg="add mod">
            <ac:chgData name="Hans Gelissen (DHL SSC Maastricht)" userId="1afa8510-4eed-4b73-a29e-678838cd8acd" providerId="ADAL" clId="{5DC7728A-B193-4E42-B707-5F97579A36D9}" dt="2023-06-27T09:35:56.904" v="67"/>
            <ac:grpSpMkLst>
              <pc:docMk/>
              <pc:sldMasterMk cId="2791372136" sldId="2147483777"/>
              <pc:sldLayoutMk cId="3714924026" sldId="2147483879"/>
              <ac:grpSpMk id="2" creationId="{4313731B-2807-1FB9-5BA8-0CBBE800BF6F}"/>
            </ac:grpSpMkLst>
          </pc:grpChg>
          <pc:grpChg chg="del">
            <ac:chgData name="Hans Gelissen (DHL SSC Maastricht)" userId="1afa8510-4eed-4b73-a29e-678838cd8acd" providerId="ADAL" clId="{5DC7728A-B193-4E42-B707-5F97579A36D9}" dt="2023-06-27T09:35:31.008" v="47" actId="478"/>
            <ac:grpSpMkLst>
              <pc:docMk/>
              <pc:sldMasterMk cId="2791372136" sldId="2147483777"/>
              <pc:sldLayoutMk cId="3714924026" sldId="2147483879"/>
              <ac:grpSpMk id="65" creationId="{1BDED68A-58CE-477A-8081-6078BF2E6B86}"/>
            </ac:grpSpMkLst>
          </pc:grp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5" creationId="{E81F2608-3CD9-27C5-9E50-757617CE6828}"/>
            </ac:picMkLst>
          </pc:pic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6" creationId="{8EF28EE7-BB10-A215-8466-DF3EE4E0BC2C}"/>
            </ac:picMkLst>
          </pc:pic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7" creationId="{4799B81D-C347-9873-4092-2E439BF199EC}"/>
            </ac:picMkLst>
          </pc:picChg>
        </pc:sldLayoutChg>
        <pc:sldLayoutChg chg="addSp delSp modSp mod">
          <pc:chgData name="Hans Gelissen (DHL SSC Maastricht)" userId="1afa8510-4eed-4b73-a29e-678838cd8acd" providerId="ADAL" clId="{5DC7728A-B193-4E42-B707-5F97579A36D9}" dt="2023-06-27T09:35:52.576" v="65"/>
          <pc:sldLayoutMkLst>
            <pc:docMk/>
            <pc:sldMasterMk cId="2791372136" sldId="2147483777"/>
            <pc:sldLayoutMk cId="3802747284" sldId="2147483880"/>
          </pc:sldLayoutMkLst>
          <pc:spChg chg="mod">
            <ac:chgData name="Hans Gelissen (DHL SSC Maastricht)" userId="1afa8510-4eed-4b73-a29e-678838cd8acd" providerId="ADAL" clId="{5DC7728A-B193-4E42-B707-5F97579A36D9}" dt="2023-06-27T09:35:52.576" v="65"/>
            <ac:spMkLst>
              <pc:docMk/>
              <pc:sldMasterMk cId="2791372136" sldId="2147483777"/>
              <pc:sldLayoutMk cId="3802747284" sldId="2147483880"/>
              <ac:spMk id="4" creationId="{2B355AB6-D745-7DBC-AC72-ADB90B73F755}"/>
            </ac:spMkLst>
          </pc:spChg>
          <pc:grpChg chg="add mod">
            <ac:chgData name="Hans Gelissen (DHL SSC Maastricht)" userId="1afa8510-4eed-4b73-a29e-678838cd8acd" providerId="ADAL" clId="{5DC7728A-B193-4E42-B707-5F97579A36D9}" dt="2023-06-27T09:35:52.576" v="65"/>
            <ac:grpSpMkLst>
              <pc:docMk/>
              <pc:sldMasterMk cId="2791372136" sldId="2147483777"/>
              <pc:sldLayoutMk cId="3802747284" sldId="2147483880"/>
              <ac:grpSpMk id="2" creationId="{0DE7D188-FF38-24EE-F23D-B3AB809E4F27}"/>
            </ac:grpSpMkLst>
          </pc:grpChg>
          <pc:grpChg chg="del">
            <ac:chgData name="Hans Gelissen (DHL SSC Maastricht)" userId="1afa8510-4eed-4b73-a29e-678838cd8acd" providerId="ADAL" clId="{5DC7728A-B193-4E42-B707-5F97579A36D9}" dt="2023-06-27T09:35:32.036" v="48" actId="478"/>
            <ac:grpSpMkLst>
              <pc:docMk/>
              <pc:sldMasterMk cId="2791372136" sldId="2147483777"/>
              <pc:sldLayoutMk cId="3802747284" sldId="2147483880"/>
              <ac:grpSpMk id="65" creationId="{1BDED68A-58CE-477A-8081-6078BF2E6B86}"/>
            </ac:grpSpMkLst>
          </pc:grp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5" creationId="{79A64920-F59B-D835-D40A-C640EC3A18DB}"/>
            </ac:picMkLst>
          </pc:pic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6" creationId="{8FF40C6A-7EF8-5BD7-443E-EB140690718E}"/>
            </ac:picMkLst>
          </pc:pic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7" creationId="{A07A7226-E1C8-6E70-6580-0D995858F39C}"/>
            </ac:picMkLst>
          </pc:picChg>
        </pc:sldLayoutChg>
        <pc:sldLayoutChg chg="addSp delSp modSp mod">
          <pc:chgData name="Hans Gelissen (DHL SSC Maastricht)" userId="1afa8510-4eed-4b73-a29e-678838cd8acd" providerId="ADAL" clId="{5DC7728A-B193-4E42-B707-5F97579A36D9}" dt="2023-06-27T09:35:51.819" v="64"/>
          <pc:sldLayoutMkLst>
            <pc:docMk/>
            <pc:sldMasterMk cId="2791372136" sldId="2147483777"/>
            <pc:sldLayoutMk cId="3314331250" sldId="2147483937"/>
          </pc:sldLayoutMkLst>
          <pc:spChg chg="mod">
            <ac:chgData name="Hans Gelissen (DHL SSC Maastricht)" userId="1afa8510-4eed-4b73-a29e-678838cd8acd" providerId="ADAL" clId="{5DC7728A-B193-4E42-B707-5F97579A36D9}" dt="2023-06-27T09:35:51.819" v="64"/>
            <ac:spMkLst>
              <pc:docMk/>
              <pc:sldMasterMk cId="2791372136" sldId="2147483777"/>
              <pc:sldLayoutMk cId="3314331250" sldId="2147483937"/>
              <ac:spMk id="4" creationId="{49677AD9-9927-112B-CD93-C6AB768024F4}"/>
            </ac:spMkLst>
          </pc:spChg>
          <pc:grpChg chg="add mod">
            <ac:chgData name="Hans Gelissen (DHL SSC Maastricht)" userId="1afa8510-4eed-4b73-a29e-678838cd8acd" providerId="ADAL" clId="{5DC7728A-B193-4E42-B707-5F97579A36D9}" dt="2023-06-27T09:35:51.819" v="64"/>
            <ac:grpSpMkLst>
              <pc:docMk/>
              <pc:sldMasterMk cId="2791372136" sldId="2147483777"/>
              <pc:sldLayoutMk cId="3314331250" sldId="2147483937"/>
              <ac:grpSpMk id="2" creationId="{044066E5-D485-B20E-23F8-BA538FE63B76}"/>
            </ac:grpSpMkLst>
          </pc:grpChg>
          <pc:grpChg chg="del">
            <ac:chgData name="Hans Gelissen (DHL SSC Maastricht)" userId="1afa8510-4eed-4b73-a29e-678838cd8acd" providerId="ADAL" clId="{5DC7728A-B193-4E42-B707-5F97579A36D9}" dt="2023-06-27T09:35:32.992" v="49" actId="478"/>
            <ac:grpSpMkLst>
              <pc:docMk/>
              <pc:sldMasterMk cId="2791372136" sldId="2147483777"/>
              <pc:sldLayoutMk cId="3314331250" sldId="2147483937"/>
              <ac:grpSpMk id="65" creationId="{1BDED68A-58CE-477A-8081-6078BF2E6B86}"/>
            </ac:grpSpMkLst>
          </pc:grp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5" creationId="{3DF400F2-D7CD-91AC-733C-6A8981AFFA09}"/>
            </ac:picMkLst>
          </pc:pic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6" creationId="{572D95F7-9B10-7EDA-FDC0-CEA990E4EA51}"/>
            </ac:picMkLst>
          </pc:pic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7" creationId="{6C5BA402-9DCA-F631-3606-27C1B80E3FCD}"/>
            </ac:picMkLst>
          </pc:picChg>
        </pc:sldLayoutChg>
        <pc:sldLayoutChg chg="addSp delSp modSp mod">
          <pc:chgData name="Hans Gelissen (DHL SSC Maastricht)" userId="1afa8510-4eed-4b73-a29e-678838cd8acd" providerId="ADAL" clId="{5DC7728A-B193-4E42-B707-5F97579A36D9}" dt="2023-06-27T09:35:51.034" v="63"/>
          <pc:sldLayoutMkLst>
            <pc:docMk/>
            <pc:sldMasterMk cId="2791372136" sldId="2147483777"/>
            <pc:sldLayoutMk cId="2580627656" sldId="2147483938"/>
          </pc:sldLayoutMkLst>
          <pc:spChg chg="mod">
            <ac:chgData name="Hans Gelissen (DHL SSC Maastricht)" userId="1afa8510-4eed-4b73-a29e-678838cd8acd" providerId="ADAL" clId="{5DC7728A-B193-4E42-B707-5F97579A36D9}" dt="2023-06-27T09:35:51.034" v="63"/>
            <ac:spMkLst>
              <pc:docMk/>
              <pc:sldMasterMk cId="2791372136" sldId="2147483777"/>
              <pc:sldLayoutMk cId="2580627656" sldId="2147483938"/>
              <ac:spMk id="4" creationId="{A744D09A-5187-56BE-7D72-9F6BE0F9FAED}"/>
            </ac:spMkLst>
          </pc:spChg>
          <pc:grpChg chg="add mod">
            <ac:chgData name="Hans Gelissen (DHL SSC Maastricht)" userId="1afa8510-4eed-4b73-a29e-678838cd8acd" providerId="ADAL" clId="{5DC7728A-B193-4E42-B707-5F97579A36D9}" dt="2023-06-27T09:35:51.034" v="63"/>
            <ac:grpSpMkLst>
              <pc:docMk/>
              <pc:sldMasterMk cId="2791372136" sldId="2147483777"/>
              <pc:sldLayoutMk cId="2580627656" sldId="2147483938"/>
              <ac:grpSpMk id="2" creationId="{5395E863-A3EF-D95B-7F65-48640690A29A}"/>
            </ac:grpSpMkLst>
          </pc:grpChg>
          <pc:grpChg chg="del">
            <ac:chgData name="Hans Gelissen (DHL SSC Maastricht)" userId="1afa8510-4eed-4b73-a29e-678838cd8acd" providerId="ADAL" clId="{5DC7728A-B193-4E42-B707-5F97579A36D9}" dt="2023-06-27T09:35:33.971" v="50" actId="478"/>
            <ac:grpSpMkLst>
              <pc:docMk/>
              <pc:sldMasterMk cId="2791372136" sldId="2147483777"/>
              <pc:sldLayoutMk cId="2580627656" sldId="2147483938"/>
              <ac:grpSpMk id="65" creationId="{1BDED68A-58CE-477A-8081-6078BF2E6B86}"/>
            </ac:grpSpMkLst>
          </pc:grp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5" creationId="{A22F0CA6-E966-6985-747C-5D86F04A2EA0}"/>
            </ac:picMkLst>
          </pc:pic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6" creationId="{2FE152F9-2252-8A3A-18FB-6ADFBC10B0D1}"/>
            </ac:picMkLst>
          </pc:pic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7" creationId="{6C848D06-76A6-E078-107B-2FAD2DA8C563}"/>
            </ac:picMkLst>
          </pc:picChg>
        </pc:sldLayoutChg>
        <pc:sldLayoutChg chg="addSp delSp modSp mod">
          <pc:chgData name="Hans Gelissen (DHL SSC Maastricht)" userId="1afa8510-4eed-4b73-a29e-678838cd8acd" providerId="ADAL" clId="{5DC7728A-B193-4E42-B707-5F97579A36D9}" dt="2023-06-27T09:35:50.248" v="62"/>
          <pc:sldLayoutMkLst>
            <pc:docMk/>
            <pc:sldMasterMk cId="2791372136" sldId="2147483777"/>
            <pc:sldLayoutMk cId="3319069032" sldId="2147483939"/>
          </pc:sldLayoutMkLst>
          <pc:spChg chg="mod">
            <ac:chgData name="Hans Gelissen (DHL SSC Maastricht)" userId="1afa8510-4eed-4b73-a29e-678838cd8acd" providerId="ADAL" clId="{5DC7728A-B193-4E42-B707-5F97579A36D9}" dt="2023-06-27T09:35:50.248" v="62"/>
            <ac:spMkLst>
              <pc:docMk/>
              <pc:sldMasterMk cId="2791372136" sldId="2147483777"/>
              <pc:sldLayoutMk cId="3319069032" sldId="2147483939"/>
              <ac:spMk id="4" creationId="{8942E540-32B0-CE6B-C5AE-CF9C131B5556}"/>
            </ac:spMkLst>
          </pc:spChg>
          <pc:grpChg chg="add mod">
            <ac:chgData name="Hans Gelissen (DHL SSC Maastricht)" userId="1afa8510-4eed-4b73-a29e-678838cd8acd" providerId="ADAL" clId="{5DC7728A-B193-4E42-B707-5F97579A36D9}" dt="2023-06-27T09:35:50.248" v="62"/>
            <ac:grpSpMkLst>
              <pc:docMk/>
              <pc:sldMasterMk cId="2791372136" sldId="2147483777"/>
              <pc:sldLayoutMk cId="3319069032" sldId="2147483939"/>
              <ac:grpSpMk id="2" creationId="{501CD296-9DE8-0DD0-ED29-DD2FC801FC13}"/>
            </ac:grpSpMkLst>
          </pc:grpChg>
          <pc:grpChg chg="del">
            <ac:chgData name="Hans Gelissen (DHL SSC Maastricht)" userId="1afa8510-4eed-4b73-a29e-678838cd8acd" providerId="ADAL" clId="{5DC7728A-B193-4E42-B707-5F97579A36D9}" dt="2023-06-27T09:35:35.153" v="51" actId="478"/>
            <ac:grpSpMkLst>
              <pc:docMk/>
              <pc:sldMasterMk cId="2791372136" sldId="2147483777"/>
              <pc:sldLayoutMk cId="3319069032" sldId="2147483939"/>
              <ac:grpSpMk id="65" creationId="{1BDED68A-58CE-477A-8081-6078BF2E6B86}"/>
            </ac:grpSpMkLst>
          </pc:grp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5" creationId="{E02450F8-DB8B-D76C-390E-9002ACB3DFBE}"/>
            </ac:picMkLst>
          </pc:pic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6" creationId="{4DABFD9C-B5FD-85C0-A1D2-A5E629515AC6}"/>
            </ac:picMkLst>
          </pc:pic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7" creationId="{3EE9D180-B8AA-7965-70DA-C045045DCB31}"/>
            </ac:picMkLst>
          </pc:picChg>
        </pc:sldLayoutChg>
        <pc:sldLayoutChg chg="addSp delSp modSp mod">
          <pc:chgData name="Hans Gelissen (DHL SSC Maastricht)" userId="1afa8510-4eed-4b73-a29e-678838cd8acd" providerId="ADAL" clId="{5DC7728A-B193-4E42-B707-5F97579A36D9}" dt="2023-06-27T09:35:48.598" v="61"/>
          <pc:sldLayoutMkLst>
            <pc:docMk/>
            <pc:sldMasterMk cId="2791372136" sldId="2147483777"/>
            <pc:sldLayoutMk cId="3530943272" sldId="2147483940"/>
          </pc:sldLayoutMkLst>
          <pc:spChg chg="mod">
            <ac:chgData name="Hans Gelissen (DHL SSC Maastricht)" userId="1afa8510-4eed-4b73-a29e-678838cd8acd" providerId="ADAL" clId="{5DC7728A-B193-4E42-B707-5F97579A36D9}" dt="2023-06-27T09:35:48.598" v="61"/>
            <ac:spMkLst>
              <pc:docMk/>
              <pc:sldMasterMk cId="2791372136" sldId="2147483777"/>
              <pc:sldLayoutMk cId="3530943272" sldId="2147483940"/>
              <ac:spMk id="4" creationId="{219B7B0B-735A-D3CA-3F53-27D2296D027A}"/>
            </ac:spMkLst>
          </pc:spChg>
          <pc:grpChg chg="add mod">
            <ac:chgData name="Hans Gelissen (DHL SSC Maastricht)" userId="1afa8510-4eed-4b73-a29e-678838cd8acd" providerId="ADAL" clId="{5DC7728A-B193-4E42-B707-5F97579A36D9}" dt="2023-06-27T09:35:48.598" v="61"/>
            <ac:grpSpMkLst>
              <pc:docMk/>
              <pc:sldMasterMk cId="2791372136" sldId="2147483777"/>
              <pc:sldLayoutMk cId="3530943272" sldId="2147483940"/>
              <ac:grpSpMk id="2" creationId="{93839574-F60F-6259-D762-368AD241B087}"/>
            </ac:grpSpMkLst>
          </pc:grpChg>
          <pc:grpChg chg="del">
            <ac:chgData name="Hans Gelissen (DHL SSC Maastricht)" userId="1afa8510-4eed-4b73-a29e-678838cd8acd" providerId="ADAL" clId="{5DC7728A-B193-4E42-B707-5F97579A36D9}" dt="2023-06-27T09:35:36.438" v="52" actId="478"/>
            <ac:grpSpMkLst>
              <pc:docMk/>
              <pc:sldMasterMk cId="2791372136" sldId="2147483777"/>
              <pc:sldLayoutMk cId="3530943272" sldId="2147483940"/>
              <ac:grpSpMk id="65" creationId="{1BDED68A-58CE-477A-8081-6078BF2E6B86}"/>
            </ac:grpSpMkLst>
          </pc:grp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5" creationId="{9AD8455D-697D-7D0C-67A1-6E1FC6D3E337}"/>
            </ac:picMkLst>
          </pc:pic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6" creationId="{457529CD-2909-A294-461E-F65FCE48DAF7}"/>
            </ac:picMkLst>
          </pc:pic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7" creationId="{4FDD2208-E8E6-6004-6709-DA174B630FDE}"/>
            </ac:picMkLst>
          </pc:picChg>
        </pc:sldLayoutChg>
        <pc:sldLayoutChg chg="addSp delSp modSp mod">
          <pc:chgData name="Hans Gelissen (DHL SSC Maastricht)" userId="1afa8510-4eed-4b73-a29e-678838cd8acd" providerId="ADAL" clId="{5DC7728A-B193-4E42-B707-5F97579A36D9}" dt="2023-06-27T09:35:47.823" v="60"/>
          <pc:sldLayoutMkLst>
            <pc:docMk/>
            <pc:sldMasterMk cId="2791372136" sldId="2147483777"/>
            <pc:sldLayoutMk cId="1109663919" sldId="2147483941"/>
          </pc:sldLayoutMkLst>
          <pc:spChg chg="mod">
            <ac:chgData name="Hans Gelissen (DHL SSC Maastricht)" userId="1afa8510-4eed-4b73-a29e-678838cd8acd" providerId="ADAL" clId="{5DC7728A-B193-4E42-B707-5F97579A36D9}" dt="2023-06-27T09:35:47.823" v="60"/>
            <ac:spMkLst>
              <pc:docMk/>
              <pc:sldMasterMk cId="2791372136" sldId="2147483777"/>
              <pc:sldLayoutMk cId="1109663919" sldId="2147483941"/>
              <ac:spMk id="4" creationId="{1CAC10F9-04C3-4CA0-A26B-304BFA589A30}"/>
            </ac:spMkLst>
          </pc:spChg>
          <pc:grpChg chg="add mod">
            <ac:chgData name="Hans Gelissen (DHL SSC Maastricht)" userId="1afa8510-4eed-4b73-a29e-678838cd8acd" providerId="ADAL" clId="{5DC7728A-B193-4E42-B707-5F97579A36D9}" dt="2023-06-27T09:35:47.823" v="60"/>
            <ac:grpSpMkLst>
              <pc:docMk/>
              <pc:sldMasterMk cId="2791372136" sldId="2147483777"/>
              <pc:sldLayoutMk cId="1109663919" sldId="2147483941"/>
              <ac:grpSpMk id="2" creationId="{FD7D5F24-C35B-6373-41CD-53AB794BBB55}"/>
            </ac:grpSpMkLst>
          </pc:grpChg>
          <pc:grpChg chg="del">
            <ac:chgData name="Hans Gelissen (DHL SSC Maastricht)" userId="1afa8510-4eed-4b73-a29e-678838cd8acd" providerId="ADAL" clId="{5DC7728A-B193-4E42-B707-5F97579A36D9}" dt="2023-06-27T09:35:37.985" v="53" actId="478"/>
            <ac:grpSpMkLst>
              <pc:docMk/>
              <pc:sldMasterMk cId="2791372136" sldId="2147483777"/>
              <pc:sldLayoutMk cId="1109663919" sldId="2147483941"/>
              <ac:grpSpMk id="65" creationId="{1BDED68A-58CE-477A-8081-6078BF2E6B86}"/>
            </ac:grpSpMkLst>
          </pc:grp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5" creationId="{3FD94297-1C7D-09C9-2815-9B5427A1A91B}"/>
            </ac:picMkLst>
          </pc:pic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6" creationId="{0F103A5C-8AC2-0458-2240-6F1261DDC158}"/>
            </ac:picMkLst>
          </pc:pic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7" creationId="{C280925C-665E-8081-B3E8-BF6D9091CEBD}"/>
            </ac:picMkLst>
          </pc:picChg>
        </pc:sldLayoutChg>
        <pc:sldLayoutChg chg="addSp delSp modSp mod">
          <pc:chgData name="Hans Gelissen (DHL SSC Maastricht)" userId="1afa8510-4eed-4b73-a29e-678838cd8acd" providerId="ADAL" clId="{5DC7728A-B193-4E42-B707-5F97579A36D9}" dt="2023-06-27T09:35:47.081" v="59"/>
          <pc:sldLayoutMkLst>
            <pc:docMk/>
            <pc:sldMasterMk cId="2791372136" sldId="2147483777"/>
            <pc:sldLayoutMk cId="2984325781" sldId="2147483977"/>
          </pc:sldLayoutMkLst>
          <pc:spChg chg="mod">
            <ac:chgData name="Hans Gelissen (DHL SSC Maastricht)" userId="1afa8510-4eed-4b73-a29e-678838cd8acd" providerId="ADAL" clId="{5DC7728A-B193-4E42-B707-5F97579A36D9}" dt="2023-06-27T09:35:47.081" v="59"/>
            <ac:spMkLst>
              <pc:docMk/>
              <pc:sldMasterMk cId="2791372136" sldId="2147483777"/>
              <pc:sldLayoutMk cId="2984325781" sldId="2147483977"/>
              <ac:spMk id="4" creationId="{DB284B44-83A5-DD7D-614B-2A35A58B743B}"/>
            </ac:spMkLst>
          </pc:spChg>
          <pc:grpChg chg="add mod">
            <ac:chgData name="Hans Gelissen (DHL SSC Maastricht)" userId="1afa8510-4eed-4b73-a29e-678838cd8acd" providerId="ADAL" clId="{5DC7728A-B193-4E42-B707-5F97579A36D9}" dt="2023-06-27T09:35:47.081" v="59"/>
            <ac:grpSpMkLst>
              <pc:docMk/>
              <pc:sldMasterMk cId="2791372136" sldId="2147483777"/>
              <pc:sldLayoutMk cId="2984325781" sldId="2147483977"/>
              <ac:grpSpMk id="2" creationId="{20ED1F78-DE7E-C48A-7E7A-3578C7F547C6}"/>
            </ac:grpSpMkLst>
          </pc:grpChg>
          <pc:grpChg chg="del">
            <ac:chgData name="Hans Gelissen (DHL SSC Maastricht)" userId="1afa8510-4eed-4b73-a29e-678838cd8acd" providerId="ADAL" clId="{5DC7728A-B193-4E42-B707-5F97579A36D9}" dt="2023-06-27T09:35:39.791" v="54" actId="478"/>
            <ac:grpSpMkLst>
              <pc:docMk/>
              <pc:sldMasterMk cId="2791372136" sldId="2147483777"/>
              <pc:sldLayoutMk cId="2984325781" sldId="2147483977"/>
              <ac:grpSpMk id="65" creationId="{1BDED68A-58CE-477A-8081-6078BF2E6B86}"/>
            </ac:grpSpMkLst>
          </pc:grp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5" creationId="{3447E75B-10DA-8580-0CC2-91FD004B0CAE}"/>
            </ac:picMkLst>
          </pc:pic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6" creationId="{9DB78F60-E22C-F4F2-E1A5-07AC9F65BEF0}"/>
            </ac:picMkLst>
          </pc:pic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7" creationId="{6C4CDA07-6A6A-9D2C-162F-793799FF0FAF}"/>
            </ac:picMkLst>
          </pc:picChg>
        </pc:sldLayoutChg>
        <pc:sldLayoutChg chg="addSp delSp modSp mod">
          <pc:chgData name="Hans Gelissen (DHL SSC Maastricht)" userId="1afa8510-4eed-4b73-a29e-678838cd8acd" providerId="ADAL" clId="{5DC7728A-B193-4E42-B707-5F97579A36D9}" dt="2023-06-27T09:35:46.235" v="58"/>
          <pc:sldLayoutMkLst>
            <pc:docMk/>
            <pc:sldMasterMk cId="2791372136" sldId="2147483777"/>
            <pc:sldLayoutMk cId="1810193577" sldId="2147483978"/>
          </pc:sldLayoutMkLst>
          <pc:spChg chg="mod">
            <ac:chgData name="Hans Gelissen (DHL SSC Maastricht)" userId="1afa8510-4eed-4b73-a29e-678838cd8acd" providerId="ADAL" clId="{5DC7728A-B193-4E42-B707-5F97579A36D9}" dt="2023-06-27T09:35:46.235" v="58"/>
            <ac:spMkLst>
              <pc:docMk/>
              <pc:sldMasterMk cId="2791372136" sldId="2147483777"/>
              <pc:sldLayoutMk cId="1810193577" sldId="2147483978"/>
              <ac:spMk id="4" creationId="{9D936BC4-949D-89E2-5DA6-CEF87DA8B027}"/>
            </ac:spMkLst>
          </pc:spChg>
          <pc:grpChg chg="add mod">
            <ac:chgData name="Hans Gelissen (DHL SSC Maastricht)" userId="1afa8510-4eed-4b73-a29e-678838cd8acd" providerId="ADAL" clId="{5DC7728A-B193-4E42-B707-5F97579A36D9}" dt="2023-06-27T09:35:46.235" v="58"/>
            <ac:grpSpMkLst>
              <pc:docMk/>
              <pc:sldMasterMk cId="2791372136" sldId="2147483777"/>
              <pc:sldLayoutMk cId="1810193577" sldId="2147483978"/>
              <ac:grpSpMk id="2" creationId="{0DC6DDF5-3750-C6D9-75BA-AD5A343ACEF7}"/>
            </ac:grpSpMkLst>
          </pc:grpChg>
          <pc:grpChg chg="del">
            <ac:chgData name="Hans Gelissen (DHL SSC Maastricht)" userId="1afa8510-4eed-4b73-a29e-678838cd8acd" providerId="ADAL" clId="{5DC7728A-B193-4E42-B707-5F97579A36D9}" dt="2023-06-27T09:35:40.904" v="55" actId="478"/>
            <ac:grpSpMkLst>
              <pc:docMk/>
              <pc:sldMasterMk cId="2791372136" sldId="2147483777"/>
              <pc:sldLayoutMk cId="1810193577" sldId="2147483978"/>
              <ac:grpSpMk id="65" creationId="{1BDED68A-58CE-477A-8081-6078BF2E6B86}"/>
            </ac:grpSpMkLst>
          </pc:grp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5" creationId="{529C19F3-7DC2-6BA2-3F36-E0F12ED95DFA}"/>
            </ac:picMkLst>
          </pc:pic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6" creationId="{D8D3CD3E-C346-A25D-D6E7-3CEF80CB68F0}"/>
            </ac:picMkLst>
          </pc:pic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7" creationId="{40BF4F1F-1A2A-9E4B-20CA-E2E5181E83F1}"/>
            </ac:picMkLst>
          </pc:picChg>
        </pc:sldLayoutChg>
        <pc:sldLayoutChg chg="addSp delSp modSp mod">
          <pc:chgData name="Hans Gelissen (DHL SSC Maastricht)" userId="1afa8510-4eed-4b73-a29e-678838cd8acd" providerId="ADAL" clId="{5DC7728A-B193-4E42-B707-5F97579A36D9}" dt="2023-06-27T09:35:45.246" v="57"/>
          <pc:sldLayoutMkLst>
            <pc:docMk/>
            <pc:sldMasterMk cId="2791372136" sldId="2147483777"/>
            <pc:sldLayoutMk cId="3829185410" sldId="2147483979"/>
          </pc:sldLayoutMkLst>
          <pc:spChg chg="mod">
            <ac:chgData name="Hans Gelissen (DHL SSC Maastricht)" userId="1afa8510-4eed-4b73-a29e-678838cd8acd" providerId="ADAL" clId="{5DC7728A-B193-4E42-B707-5F97579A36D9}" dt="2023-06-27T09:35:45.246" v="57"/>
            <ac:spMkLst>
              <pc:docMk/>
              <pc:sldMasterMk cId="2791372136" sldId="2147483777"/>
              <pc:sldLayoutMk cId="3829185410" sldId="2147483979"/>
              <ac:spMk id="4" creationId="{D735C7B8-DF3E-25CC-F453-C66C0469DA3E}"/>
            </ac:spMkLst>
          </pc:spChg>
          <pc:grpChg chg="add mod">
            <ac:chgData name="Hans Gelissen (DHL SSC Maastricht)" userId="1afa8510-4eed-4b73-a29e-678838cd8acd" providerId="ADAL" clId="{5DC7728A-B193-4E42-B707-5F97579A36D9}" dt="2023-06-27T09:35:45.246" v="57"/>
            <ac:grpSpMkLst>
              <pc:docMk/>
              <pc:sldMasterMk cId="2791372136" sldId="2147483777"/>
              <pc:sldLayoutMk cId="3829185410" sldId="2147483979"/>
              <ac:grpSpMk id="2" creationId="{429E8796-FC95-6BC3-1E19-93ACEA4DA383}"/>
            </ac:grpSpMkLst>
          </pc:grpChg>
          <pc:grpChg chg="del">
            <ac:chgData name="Hans Gelissen (DHL SSC Maastricht)" userId="1afa8510-4eed-4b73-a29e-678838cd8acd" providerId="ADAL" clId="{5DC7728A-B193-4E42-B707-5F97579A36D9}" dt="2023-06-27T09:35:41.900" v="56" actId="478"/>
            <ac:grpSpMkLst>
              <pc:docMk/>
              <pc:sldMasterMk cId="2791372136" sldId="2147483777"/>
              <pc:sldLayoutMk cId="3829185410" sldId="2147483979"/>
              <ac:grpSpMk id="65" creationId="{1BDED68A-58CE-477A-8081-6078BF2E6B86}"/>
            </ac:grpSpMkLst>
          </pc:grp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5" creationId="{BEEB1334-17B8-E102-1B83-CD31D91FAB59}"/>
            </ac:picMkLst>
          </pc:pic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6" creationId="{4060789B-6A0A-C61C-85C7-6519B8F49536}"/>
            </ac:picMkLst>
          </pc:pic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7" creationId="{AE2FFD02-160C-D7B1-B19D-AD7082A9B475}"/>
            </ac:picMkLst>
          </pc:pic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79376C-CCB9-470D-957B-31D17B9A9F13}" type="datetimeFigureOut">
              <a:rPr lang="nl-NL" smtClean="0"/>
              <a:t>14-7-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189C3-052D-4975-A211-2A13C2628026}" type="slidenum">
              <a:rPr lang="nl-NL" smtClean="0"/>
              <a:t>‹#›</a:t>
            </a:fld>
            <a:endParaRPr lang="nl-NL"/>
          </a:p>
        </p:txBody>
      </p:sp>
    </p:spTree>
    <p:extLst>
      <p:ext uri="{BB962C8B-B14F-4D97-AF65-F5344CB8AC3E}">
        <p14:creationId xmlns:p14="http://schemas.microsoft.com/office/powerpoint/2010/main" val="21163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A189C3-052D-4975-A211-2A13C2628026}" type="slidenum">
              <a:rPr lang="nl-NL" smtClean="0"/>
              <a:t>2</a:t>
            </a:fld>
            <a:endParaRPr lang="nl-NL"/>
          </a:p>
        </p:txBody>
      </p:sp>
    </p:spTree>
    <p:extLst>
      <p:ext uri="{BB962C8B-B14F-4D97-AF65-F5344CB8AC3E}">
        <p14:creationId xmlns:p14="http://schemas.microsoft.com/office/powerpoint/2010/main" val="340121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ing: 2 minutes</a:t>
            </a:r>
          </a:p>
          <a:p>
            <a:r>
              <a:rPr lang="en-US" dirty="0"/>
              <a:t>Activity: 20 minutes</a:t>
            </a:r>
          </a:p>
          <a:p>
            <a:r>
              <a:rPr lang="en-US" dirty="0"/>
              <a:t>Debrief:  3 minutes</a:t>
            </a:r>
          </a:p>
          <a:p>
            <a:endParaRPr lang="en-US" dirty="0"/>
          </a:p>
          <a:p>
            <a:r>
              <a:rPr lang="en-US" dirty="0"/>
              <a:t>Each individual gets 2 questions (same for everyone). They need to write down their answers according the STAR method. (in their workbook)</a:t>
            </a:r>
          </a:p>
        </p:txBody>
      </p:sp>
      <p:sp>
        <p:nvSpPr>
          <p:cNvPr id="4" name="Slide Number Placeholder 3"/>
          <p:cNvSpPr>
            <a:spLocks noGrp="1"/>
          </p:cNvSpPr>
          <p:nvPr>
            <p:ph type="sldNum" sz="quarter" idx="5"/>
          </p:nvPr>
        </p:nvSpPr>
        <p:spPr/>
        <p:txBody>
          <a:bodyPr/>
          <a:lstStyle/>
          <a:p>
            <a:fld id="{17A189C3-052D-4975-A211-2A13C2628026}" type="slidenum">
              <a:rPr lang="nl-NL" smtClean="0"/>
              <a:t>3</a:t>
            </a:fld>
            <a:endParaRPr lang="nl-NL"/>
          </a:p>
        </p:txBody>
      </p:sp>
    </p:spTree>
    <p:extLst>
      <p:ext uri="{BB962C8B-B14F-4D97-AF65-F5344CB8AC3E}">
        <p14:creationId xmlns:p14="http://schemas.microsoft.com/office/powerpoint/2010/main" val="248959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A189C3-052D-4975-A211-2A13C2628026}" type="slidenum">
              <a:rPr lang="nl-NL" smtClean="0"/>
              <a:t>4</a:t>
            </a:fld>
            <a:endParaRPr lang="nl-NL"/>
          </a:p>
        </p:txBody>
      </p:sp>
    </p:spTree>
    <p:extLst>
      <p:ext uri="{BB962C8B-B14F-4D97-AF65-F5344CB8AC3E}">
        <p14:creationId xmlns:p14="http://schemas.microsoft.com/office/powerpoint/2010/main" val="2117116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ing: 1 minute</a:t>
            </a:r>
          </a:p>
          <a:p>
            <a:r>
              <a:rPr lang="en-US" dirty="0"/>
              <a:t>Activity: 30 minutes</a:t>
            </a:r>
          </a:p>
          <a:p>
            <a:r>
              <a:rPr lang="en-US" dirty="0"/>
              <a:t>Debrief: 4 minutes</a:t>
            </a:r>
          </a:p>
          <a:p>
            <a:endParaRPr lang="en-US" dirty="0"/>
          </a:p>
          <a:p>
            <a:r>
              <a:rPr lang="en-US" dirty="0"/>
              <a:t>Each individual find 10 questions (same for everyone) in their workbook. Attendees write down their answers to the questions in the STAR method. (Keywords) so they can prepare themselves for the practice interview. Attendees can collaborate with their neighbor if they wish.</a:t>
            </a:r>
          </a:p>
        </p:txBody>
      </p:sp>
      <p:sp>
        <p:nvSpPr>
          <p:cNvPr id="4" name="Slide Number Placeholder 3"/>
          <p:cNvSpPr>
            <a:spLocks noGrp="1"/>
          </p:cNvSpPr>
          <p:nvPr>
            <p:ph type="sldNum" sz="quarter" idx="5"/>
          </p:nvPr>
        </p:nvSpPr>
        <p:spPr/>
        <p:txBody>
          <a:bodyPr/>
          <a:lstStyle/>
          <a:p>
            <a:fld id="{17A189C3-052D-4975-A211-2A13C2628026}" type="slidenum">
              <a:rPr lang="nl-NL" smtClean="0"/>
              <a:t>5</a:t>
            </a:fld>
            <a:endParaRPr lang="nl-NL"/>
          </a:p>
        </p:txBody>
      </p:sp>
    </p:spTree>
    <p:extLst>
      <p:ext uri="{BB962C8B-B14F-4D97-AF65-F5344CB8AC3E}">
        <p14:creationId xmlns:p14="http://schemas.microsoft.com/office/powerpoint/2010/main" val="3388570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A189C3-052D-4975-A211-2A13C2628026}" type="slidenum">
              <a:rPr lang="nl-NL" smtClean="0"/>
              <a:t>6</a:t>
            </a:fld>
            <a:endParaRPr lang="nl-NL"/>
          </a:p>
        </p:txBody>
      </p:sp>
    </p:spTree>
    <p:extLst>
      <p:ext uri="{BB962C8B-B14F-4D97-AF65-F5344CB8AC3E}">
        <p14:creationId xmlns:p14="http://schemas.microsoft.com/office/powerpoint/2010/main" val="1425483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A189C3-052D-4975-A211-2A13C2628026}" type="slidenum">
              <a:rPr lang="nl-NL" smtClean="0"/>
              <a:t>7</a:t>
            </a:fld>
            <a:endParaRPr lang="nl-NL"/>
          </a:p>
        </p:txBody>
      </p:sp>
    </p:spTree>
    <p:extLst>
      <p:ext uri="{BB962C8B-B14F-4D97-AF65-F5344CB8AC3E}">
        <p14:creationId xmlns:p14="http://schemas.microsoft.com/office/powerpoint/2010/main" val="38153019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A189C3-052D-4975-A211-2A13C2628026}" type="slidenum">
              <a:rPr lang="nl-NL" smtClean="0"/>
              <a:t>8</a:t>
            </a:fld>
            <a:endParaRPr lang="nl-NL"/>
          </a:p>
        </p:txBody>
      </p:sp>
    </p:spTree>
    <p:extLst>
      <p:ext uri="{BB962C8B-B14F-4D97-AF65-F5344CB8AC3E}">
        <p14:creationId xmlns:p14="http://schemas.microsoft.com/office/powerpoint/2010/main" val="138886241"/>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4.jpeg"/><Relationship Id="rId4" Type="http://schemas.openxmlformats.org/officeDocument/2006/relationships/image" Target="../media/image153.png"/></Relationships>
</file>

<file path=ppt/slideLayouts/_rels/slideLayout15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5.jpeg"/><Relationship Id="rId4" Type="http://schemas.openxmlformats.org/officeDocument/2006/relationships/image" Target="../media/image153.png"/></Relationships>
</file>

<file path=ppt/slideLayouts/_rels/slideLayout15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6.jpeg"/><Relationship Id="rId4" Type="http://schemas.openxmlformats.org/officeDocument/2006/relationships/image" Target="../media/image153.png"/></Relationships>
</file>

<file path=ppt/slideLayouts/_rels/slideLayout15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7.jpeg"/><Relationship Id="rId4" Type="http://schemas.openxmlformats.org/officeDocument/2006/relationships/image" Target="../media/image153.png"/></Relationships>
</file>

<file path=ppt/slideLayouts/_rels/slideLayout15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8.jpeg"/><Relationship Id="rId4" Type="http://schemas.openxmlformats.org/officeDocument/2006/relationships/image" Target="../media/image153.png"/></Relationships>
</file>

<file path=ppt/slideLayouts/_rels/slideLayout15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59.jpeg"/><Relationship Id="rId4" Type="http://schemas.openxmlformats.org/officeDocument/2006/relationships/image" Target="../media/image153.png"/></Relationships>
</file>

<file path=ppt/slideLayouts/_rels/slideLayout15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0.jpeg"/><Relationship Id="rId4" Type="http://schemas.openxmlformats.org/officeDocument/2006/relationships/image" Target="../media/image15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16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1.jpeg"/><Relationship Id="rId4" Type="http://schemas.openxmlformats.org/officeDocument/2006/relationships/image" Target="../media/image153.png"/></Relationships>
</file>

<file path=ppt/slideLayouts/_rels/slideLayout16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2.jpeg"/><Relationship Id="rId4" Type="http://schemas.openxmlformats.org/officeDocument/2006/relationships/image" Target="../media/image153.png"/></Relationships>
</file>

<file path=ppt/slideLayouts/_rels/slideLayout162.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3.jpeg"/><Relationship Id="rId4" Type="http://schemas.openxmlformats.org/officeDocument/2006/relationships/image" Target="../media/image153.png"/></Relationships>
</file>

<file path=ppt/slideLayouts/_rels/slideLayout163.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4.jpeg"/><Relationship Id="rId4" Type="http://schemas.openxmlformats.org/officeDocument/2006/relationships/image" Target="../media/image153.png"/></Relationships>
</file>

<file path=ppt/slideLayouts/_rels/slideLayout16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5.jpeg"/><Relationship Id="rId4" Type="http://schemas.openxmlformats.org/officeDocument/2006/relationships/image" Target="../media/image153.png"/></Relationships>
</file>

<file path=ppt/slideLayouts/_rels/slideLayout16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6.jpeg"/><Relationship Id="rId4" Type="http://schemas.openxmlformats.org/officeDocument/2006/relationships/image" Target="../media/image153.png"/></Relationships>
</file>

<file path=ppt/slideLayouts/_rels/slideLayout166.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7.jpeg"/><Relationship Id="rId4" Type="http://schemas.openxmlformats.org/officeDocument/2006/relationships/image" Target="../media/image153.png"/></Relationships>
</file>

<file path=ppt/slideLayouts/_rels/slideLayout167.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8.jpeg"/><Relationship Id="rId4" Type="http://schemas.openxmlformats.org/officeDocument/2006/relationships/image" Target="../media/image153.png"/></Relationships>
</file>

<file path=ppt/slideLayouts/_rels/slideLayout168.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69.jpeg"/><Relationship Id="rId4" Type="http://schemas.openxmlformats.org/officeDocument/2006/relationships/image" Target="../media/image153.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70.jpeg"/><Relationship Id="rId4" Type="http://schemas.openxmlformats.org/officeDocument/2006/relationships/image" Target="../media/image153.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5" Type="http://schemas.openxmlformats.org/officeDocument/2006/relationships/image" Target="../media/image171.jpeg"/><Relationship Id="rId4" Type="http://schemas.openxmlformats.org/officeDocument/2006/relationships/image" Target="../media/image153.png"/></Relationships>
</file>

<file path=ppt/slideLayouts/_rels/slideLayout171.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52.png"/><Relationship Id="rId1" Type="http://schemas.openxmlformats.org/officeDocument/2006/relationships/slideMaster" Target="../slideMasters/slideMaster10.xml"/><Relationship Id="rId4" Type="http://schemas.openxmlformats.org/officeDocument/2006/relationships/image" Target="../media/image15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72.png"/><Relationship Id="rId7" Type="http://schemas.microsoft.com/office/2007/relationships/hdphoto" Target="../media/hdphoto16.wdp"/><Relationship Id="rId2" Type="http://schemas.openxmlformats.org/officeDocument/2006/relationships/image" Target="../media/image30.png"/><Relationship Id="rId1" Type="http://schemas.openxmlformats.org/officeDocument/2006/relationships/slideMaster" Target="../slideMasters/slideMaster10.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174.png"/><Relationship Id="rId4" Type="http://schemas.openxmlformats.org/officeDocument/2006/relationships/image" Target="../media/image173.pn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7.png"/><Relationship Id="rId7" Type="http://schemas.microsoft.com/office/2007/relationships/hdphoto" Target="../media/hdphoto16.wdp"/><Relationship Id="rId2" Type="http://schemas.openxmlformats.org/officeDocument/2006/relationships/image" Target="../media/image176.png"/><Relationship Id="rId1" Type="http://schemas.openxmlformats.org/officeDocument/2006/relationships/slideMaster" Target="../slideMasters/slideMaster11.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8.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79.png"/><Relationship Id="rId1" Type="http://schemas.openxmlformats.org/officeDocument/2006/relationships/slideMaster" Target="../slideMasters/slideMaster1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18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5.jpeg"/><Relationship Id="rId4" Type="http://schemas.microsoft.com/office/2007/relationships/hdphoto" Target="../media/hdphoto14.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6.jpeg"/><Relationship Id="rId4" Type="http://schemas.microsoft.com/office/2007/relationships/hdphoto" Target="../media/hdphoto14.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7.jpeg"/><Relationship Id="rId4" Type="http://schemas.microsoft.com/office/2007/relationships/hdphoto" Target="../media/hdphoto14.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8.jpeg"/><Relationship Id="rId4" Type="http://schemas.microsoft.com/office/2007/relationships/hdphoto" Target="../media/hdphoto14.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39.jpeg"/><Relationship Id="rId4" Type="http://schemas.microsoft.com/office/2007/relationships/hdphoto" Target="../media/hdphoto14.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0.jpeg"/><Relationship Id="rId4" Type="http://schemas.microsoft.com/office/2007/relationships/hdphoto" Target="../media/hdphoto14.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1.jpeg"/><Relationship Id="rId4" Type="http://schemas.microsoft.com/office/2007/relationships/hdphoto" Target="../media/hdphoto14.wdp"/></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2.jpeg"/><Relationship Id="rId4" Type="http://schemas.microsoft.com/office/2007/relationships/hdphoto" Target="../media/hdphoto14.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3.jpeg"/><Relationship Id="rId4" Type="http://schemas.microsoft.com/office/2007/relationships/hdphoto" Target="../media/hdphoto14.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4.jpeg"/><Relationship Id="rId4" Type="http://schemas.microsoft.com/office/2007/relationships/hdphoto" Target="../media/hdphoto14.wdp"/></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5.jpeg"/><Relationship Id="rId4" Type="http://schemas.microsoft.com/office/2007/relationships/hdphoto" Target="../media/hdphoto14.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6.jpeg"/><Relationship Id="rId4" Type="http://schemas.microsoft.com/office/2007/relationships/hdphoto" Target="../media/hdphoto14.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7.jpeg"/><Relationship Id="rId4" Type="http://schemas.microsoft.com/office/2007/relationships/hdphoto" Target="../media/hdphoto14.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8.jpeg"/><Relationship Id="rId4" Type="http://schemas.microsoft.com/office/2007/relationships/hdphoto" Target="../media/hdphoto14.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49.jpeg"/><Relationship Id="rId4" Type="http://schemas.microsoft.com/office/2007/relationships/hdphoto" Target="../media/hdphoto14.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0.jpeg"/><Relationship Id="rId4" Type="http://schemas.microsoft.com/office/2007/relationships/hdphoto" Target="../media/hdphoto14.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1.jpeg"/><Relationship Id="rId4" Type="http://schemas.microsoft.com/office/2007/relationships/hdphoto" Target="../media/hdphoto14.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2.jpeg"/><Relationship Id="rId4" Type="http://schemas.microsoft.com/office/2007/relationships/hdphoto" Target="../media/hdphoto14.wdp"/></Relationships>
</file>

<file path=ppt/slideLayouts/_rels/slideLayout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5" Type="http://schemas.openxmlformats.org/officeDocument/2006/relationships/image" Target="../media/image53.jpeg"/><Relationship Id="rId4" Type="http://schemas.microsoft.com/office/2007/relationships/hdphoto" Target="../media/hdphoto14.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3.xml"/><Relationship Id="rId4" Type="http://schemas.microsoft.com/office/2007/relationships/hdphoto" Target="../media/hdphoto14.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B43C5739-9C50-4600-9D8C-4447946A6FBF}"/>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Placeholder 1">
            <a:extLst>
              <a:ext uri="{FF2B5EF4-FFF2-40B4-BE49-F238E27FC236}">
                <a16:creationId xmlns:a16="http://schemas.microsoft.com/office/drawing/2014/main" id="{191AB789-4696-4D28-8BA1-80BA27DDF8D9}"/>
              </a:ext>
            </a:extLst>
          </p:cNvPr>
          <p:cNvSpPr>
            <a:spLocks noGrp="1"/>
          </p:cNvSpPr>
          <p:nvPr userDrawn="1">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8" name="Text Placeholder 4">
            <a:extLst>
              <a:ext uri="{FF2B5EF4-FFF2-40B4-BE49-F238E27FC236}">
                <a16:creationId xmlns:a16="http://schemas.microsoft.com/office/drawing/2014/main" id="{6DAF46B8-C243-4C9F-AF45-36B2280FB4D7}"/>
              </a:ext>
            </a:extLst>
          </p:cNvPr>
          <p:cNvSpPr>
            <a:spLocks noGrp="1"/>
          </p:cNvSpPr>
          <p:nvPr userDrawn="1">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9" name="Date Placeholder 3">
            <a:extLst>
              <a:ext uri="{FF2B5EF4-FFF2-40B4-BE49-F238E27FC236}">
                <a16:creationId xmlns:a16="http://schemas.microsoft.com/office/drawing/2014/main" id="{6A9F479D-D471-49DF-AC54-46C87E517D50}"/>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1" name="Group 10">
            <a:extLst>
              <a:ext uri="{FF2B5EF4-FFF2-40B4-BE49-F238E27FC236}">
                <a16:creationId xmlns:a16="http://schemas.microsoft.com/office/drawing/2014/main" id="{21968E00-6E91-4173-A9A3-5DEA2D53D979}"/>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133708CC-3E47-41A1-AE08-A9241C1B242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760AA8C5-CD0E-40BE-B9AC-CE4A89001B8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A6C49861-D4FC-4572-B2CD-9B4F661E6E6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3DF7485-32A6-4E17-868B-C7991C3FEC4A}"/>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14BE175D-CC04-4FA0-B052-01427B361F2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0751D0CE-6385-47F8-BE2A-E5B0319DA89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C4FCADC-3A29-472B-A041-AF95888282E9}"/>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0A4CC093-256C-452E-ADF2-8AC8AD0B071D}"/>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1055BC9F-76B2-4DC9-B646-C3DBF08FE73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6" name="Circle: Hollow 25">
              <a:extLst>
                <a:ext uri="{FF2B5EF4-FFF2-40B4-BE49-F238E27FC236}">
                  <a16:creationId xmlns:a16="http://schemas.microsoft.com/office/drawing/2014/main" id="{C1D61945-1D36-4C46-94EA-09639294D24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003A1C6A-1D6A-4180-A0D9-DC2133AB5E0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B64840F-D5C1-4379-AA9D-E34F57D8198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6E876024-2B36-40F8-BD2F-E22EC8FBA6C7}"/>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6B8E76BA-92E6-4A24-B419-903994AFA07A}"/>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E4DAC61B-A6EA-40DF-A6CA-406E78A3482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60B4BF62-C933-40EF-9FFD-36F7DFD2FA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AD7FE86-F458-477D-8987-7EB5E430B2AB}"/>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B4C900C-B786-4C7D-B946-C89ADC1F868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025D3909-379A-47F0-BE09-6E6F278F48F9}"/>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E22B5079-F74D-4727-89F7-6199AF626577}"/>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2B01D1C-650D-42BB-BF15-ACD8121D921D}"/>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1AE4ACF3-006A-4F3C-9CB1-D0CE27F8A83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D46D9B4-E9AB-433F-AEC7-A32416D14F4A}"/>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E1F2AF9C-48E6-45FD-9799-5AFB06701B23}"/>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B0B57178-91CE-43F2-8F84-93DFBDC06A4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6CAF3AF-BE7C-4BE0-9F3E-414DDDE9546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44D45B54-E16A-41AE-906E-60C66656DB3E}"/>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384992A8-B534-4C80-B5D2-165C2096B56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45CB2C0-559C-483A-B467-18495FC6FE9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2704BC36-310C-499E-88DA-D5B9B0C46F8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C4769ECB-893B-469D-AFF4-A26CF0D7724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32318BD6-0127-461A-AE31-450236FAC8F9}"/>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7CEC3FF5-C7A7-44D8-964F-7EEAAC4B3D5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063E4DF0-3BDF-44EF-B4CF-4695F482286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FB73E6A-162D-4597-9949-E2DCBDCA7A1F}"/>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243743B5-5C57-4A17-BD16-FAFEAF84372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FA380C2E-433A-4855-AE90-561C1DD5BC1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A8EFCA7-D62A-40AF-A0EE-8CD32139C689}"/>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ACDDF769-3287-42DE-8726-81CD485DD11E}"/>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F74DFBA7-E237-4694-A16D-8C66E6670470}"/>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2899A1AA-7CE5-469A-8DDE-69F0E7B41CB7}"/>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8" name="Circle: Hollow 57">
              <a:extLst>
                <a:ext uri="{FF2B5EF4-FFF2-40B4-BE49-F238E27FC236}">
                  <a16:creationId xmlns:a16="http://schemas.microsoft.com/office/drawing/2014/main" id="{773D1B30-05A4-495B-931B-968ECE0C14DF}"/>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288C8FB-13C9-99FB-B01C-DC4395A3BA6A}"/>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7F0A5D73-5526-440B-2C11-AE1BC42C3E8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6E53A130-1D8C-D2D0-CF39-EC03D347951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E8F2A838-40E6-8577-AE70-F1CD20FC2A14}"/>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37D80520-0709-236C-C671-6FD145FDD001}"/>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3307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ASHPAGE SA 3">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F9B6AB-F9A0-4EC1-A281-A500C0BBC4D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CB1764CA-5D9E-486C-B161-FDBA6DEA1EB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C58D2257-C56B-DFE2-5AB2-556FA77EA265}"/>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1CBA513E-CB1F-E63B-2009-A72D73CF917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7B741B4A-3601-9811-24CF-A8567B4EA59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D9BD470-476B-3670-EEB1-EC469B8ED46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82C826C5-7031-81DE-775C-77EB7D5C268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6119405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1" descr="A picture containing person, ground, outdoor&#10;&#10;Description automatically generated">
            <a:extLst>
              <a:ext uri="{FF2B5EF4-FFF2-40B4-BE49-F238E27FC236}">
                <a16:creationId xmlns:a16="http://schemas.microsoft.com/office/drawing/2014/main" id="{223E0373-AB26-4C70-8293-B94DD4302C8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3648" y="-174605"/>
            <a:ext cx="2881395" cy="2881395"/>
          </a:xfrm>
          <a:prstGeom prst="ellipse">
            <a:avLst/>
          </a:prstGeom>
          <a:ln>
            <a:noFill/>
          </a:ln>
        </p:spPr>
      </p:pic>
      <p:sp>
        <p:nvSpPr>
          <p:cNvPr id="2" name="Text Placeholder 4">
            <a:extLst>
              <a:ext uri="{FF2B5EF4-FFF2-40B4-BE49-F238E27FC236}">
                <a16:creationId xmlns:a16="http://schemas.microsoft.com/office/drawing/2014/main" id="{604926F4-F1D8-5F88-6EC4-D0099F1AEFC0}"/>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64E3280-EE03-DD41-985E-F61DEEEB3B6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2341434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44">
            <a:extLst>
              <a:ext uri="{FF2B5EF4-FFF2-40B4-BE49-F238E27FC236}">
                <a16:creationId xmlns:a16="http://schemas.microsoft.com/office/drawing/2014/main" id="{1FFD8D38-55F1-455B-8F57-103CA35CDCD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61652" y="-181354"/>
            <a:ext cx="2881395" cy="2881395"/>
          </a:xfrm>
          <a:prstGeom prst="ellipse">
            <a:avLst/>
          </a:prstGeom>
          <a:ln>
            <a:noFill/>
          </a:ln>
        </p:spPr>
      </p:pic>
      <p:sp>
        <p:nvSpPr>
          <p:cNvPr id="2" name="Text Placeholder 4">
            <a:extLst>
              <a:ext uri="{FF2B5EF4-FFF2-40B4-BE49-F238E27FC236}">
                <a16:creationId xmlns:a16="http://schemas.microsoft.com/office/drawing/2014/main" id="{EDB224E9-AD85-8940-C67B-9B7A36BF5EC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C4829069-C91D-5B1A-8DE4-32384ED0AEF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623591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28" descr="A group of people posing for the camera&#10;&#10;Description automatically generated">
            <a:extLst>
              <a:ext uri="{FF2B5EF4-FFF2-40B4-BE49-F238E27FC236}">
                <a16:creationId xmlns:a16="http://schemas.microsoft.com/office/drawing/2014/main" id="{CAE5C3F0-7A57-4509-A39B-B712FEE8DD6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1703" y="-184115"/>
            <a:ext cx="2881395" cy="2881395"/>
          </a:xfrm>
          <a:prstGeom prst="ellipse">
            <a:avLst/>
          </a:prstGeom>
          <a:ln>
            <a:noFill/>
          </a:ln>
        </p:spPr>
      </p:pic>
      <p:sp>
        <p:nvSpPr>
          <p:cNvPr id="2" name="Text Placeholder 4">
            <a:extLst>
              <a:ext uri="{FF2B5EF4-FFF2-40B4-BE49-F238E27FC236}">
                <a16:creationId xmlns:a16="http://schemas.microsoft.com/office/drawing/2014/main" id="{52348451-0E59-7072-1125-10F07E0F30D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320D2EA-9506-67FC-3DB2-64AB427A4BF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6965470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137">
            <a:extLst>
              <a:ext uri="{FF2B5EF4-FFF2-40B4-BE49-F238E27FC236}">
                <a16:creationId xmlns:a16="http://schemas.microsoft.com/office/drawing/2014/main" id="{A88CDFA4-3048-4B5A-B351-99A4F57263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933" y="-161905"/>
            <a:ext cx="2881395" cy="2881395"/>
          </a:xfrm>
          <a:prstGeom prst="ellipse">
            <a:avLst/>
          </a:prstGeom>
          <a:ln>
            <a:noFill/>
          </a:ln>
        </p:spPr>
      </p:pic>
      <p:sp>
        <p:nvSpPr>
          <p:cNvPr id="2" name="Text Placeholder 4">
            <a:extLst>
              <a:ext uri="{FF2B5EF4-FFF2-40B4-BE49-F238E27FC236}">
                <a16:creationId xmlns:a16="http://schemas.microsoft.com/office/drawing/2014/main" id="{2C8BE9FF-2BB1-4891-9F91-D5DDE7B0099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4733AC7-96B3-9C0E-DBD0-6AA4A082620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0248782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32">
            <a:extLst>
              <a:ext uri="{FF2B5EF4-FFF2-40B4-BE49-F238E27FC236}">
                <a16:creationId xmlns:a16="http://schemas.microsoft.com/office/drawing/2014/main" id="{D4F8B68D-F1AB-4BBB-93B4-ADA9BAD1EE0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3950" y="-163609"/>
            <a:ext cx="2881395" cy="2881395"/>
          </a:xfrm>
          <a:prstGeom prst="ellipse">
            <a:avLst/>
          </a:prstGeom>
          <a:ln>
            <a:noFill/>
          </a:ln>
        </p:spPr>
      </p:pic>
      <p:sp>
        <p:nvSpPr>
          <p:cNvPr id="2" name="Text Placeholder 4">
            <a:extLst>
              <a:ext uri="{FF2B5EF4-FFF2-40B4-BE49-F238E27FC236}">
                <a16:creationId xmlns:a16="http://schemas.microsoft.com/office/drawing/2014/main" id="{06E58E42-850A-642E-881A-2234FFF86B1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Tree>
    <p:extLst>
      <p:ext uri="{BB962C8B-B14F-4D97-AF65-F5344CB8AC3E}">
        <p14:creationId xmlns:p14="http://schemas.microsoft.com/office/powerpoint/2010/main" val="2875832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8">
            <a:extLst>
              <a:ext uri="{FF2B5EF4-FFF2-40B4-BE49-F238E27FC236}">
                <a16:creationId xmlns:a16="http://schemas.microsoft.com/office/drawing/2014/main" id="{9667BFF7-1B13-4CC9-BF2C-11388F0C33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8152"/>
            <a:ext cx="2881395" cy="2881395"/>
          </a:xfrm>
          <a:prstGeom prst="ellipse">
            <a:avLst/>
          </a:prstGeom>
          <a:ln>
            <a:noFill/>
          </a:ln>
        </p:spPr>
      </p:pic>
      <p:sp>
        <p:nvSpPr>
          <p:cNvPr id="2" name="Text Placeholder 4">
            <a:extLst>
              <a:ext uri="{FF2B5EF4-FFF2-40B4-BE49-F238E27FC236}">
                <a16:creationId xmlns:a16="http://schemas.microsoft.com/office/drawing/2014/main" id="{C681E71E-39C1-10C1-168F-75D331B10F7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E3178B2-082D-1CE6-5602-B82FD30376C1}"/>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3747395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73" descr="A picture containing person, yellow, blue&#10;&#10;Description automatically generated">
            <a:extLst>
              <a:ext uri="{FF2B5EF4-FFF2-40B4-BE49-F238E27FC236}">
                <a16:creationId xmlns:a16="http://schemas.microsoft.com/office/drawing/2014/main" id="{7C958FA5-9EB2-4506-9A88-C836A322990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35864" y="-193876"/>
            <a:ext cx="2881395" cy="2881395"/>
          </a:xfrm>
          <a:prstGeom prst="ellipse">
            <a:avLst/>
          </a:prstGeom>
          <a:ln>
            <a:noFill/>
          </a:ln>
        </p:spPr>
      </p:pic>
      <p:sp>
        <p:nvSpPr>
          <p:cNvPr id="2" name="Text Placeholder 4">
            <a:extLst>
              <a:ext uri="{FF2B5EF4-FFF2-40B4-BE49-F238E27FC236}">
                <a16:creationId xmlns:a16="http://schemas.microsoft.com/office/drawing/2014/main" id="{AACB6144-4CDC-F0A7-8C64-E9E7D840D066}"/>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3C2940B-02D3-ED85-9C15-E33963488A7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22049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83">
            <a:extLst>
              <a:ext uri="{FF2B5EF4-FFF2-40B4-BE49-F238E27FC236}">
                <a16:creationId xmlns:a16="http://schemas.microsoft.com/office/drawing/2014/main" id="{14DC6DCD-0887-4C8A-AD51-C66A4BF969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764" y="-156396"/>
            <a:ext cx="2881395" cy="2881395"/>
          </a:xfrm>
          <a:prstGeom prst="ellipse">
            <a:avLst/>
          </a:prstGeom>
          <a:ln>
            <a:noFill/>
          </a:ln>
        </p:spPr>
      </p:pic>
      <p:sp>
        <p:nvSpPr>
          <p:cNvPr id="2" name="Text Placeholder 4">
            <a:extLst>
              <a:ext uri="{FF2B5EF4-FFF2-40B4-BE49-F238E27FC236}">
                <a16:creationId xmlns:a16="http://schemas.microsoft.com/office/drawing/2014/main" id="{A07D941F-CED7-1849-ED94-268CDDE2A66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104D5D5-F467-1C5F-66CF-A40CEB2358B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9744605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78">
            <a:extLst>
              <a:ext uri="{FF2B5EF4-FFF2-40B4-BE49-F238E27FC236}">
                <a16:creationId xmlns:a16="http://schemas.microsoft.com/office/drawing/2014/main" id="{867149C0-22C6-417C-9400-0D1F080D45A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5519"/>
            <a:ext cx="2881395" cy="2881395"/>
          </a:xfrm>
          <a:prstGeom prst="ellipse">
            <a:avLst/>
          </a:prstGeom>
          <a:ln>
            <a:noFill/>
          </a:ln>
        </p:spPr>
      </p:pic>
      <p:sp>
        <p:nvSpPr>
          <p:cNvPr id="2" name="Text Placeholder 4">
            <a:extLst>
              <a:ext uri="{FF2B5EF4-FFF2-40B4-BE49-F238E27FC236}">
                <a16:creationId xmlns:a16="http://schemas.microsoft.com/office/drawing/2014/main" id="{062F1AEE-9D24-0048-7F2B-C4962CBB622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72BF6C8-E405-59DA-568B-D74AA4E989A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9198554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1" name="Picture Placeholder 159" descr="A group of people in clothing&#10;&#10;Description automatically generated with low confidence">
            <a:extLst>
              <a:ext uri="{FF2B5EF4-FFF2-40B4-BE49-F238E27FC236}">
                <a16:creationId xmlns:a16="http://schemas.microsoft.com/office/drawing/2014/main" id="{86B42518-54F2-48D0-AB37-26AB746B9A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443"/>
          <a:stretch/>
        </p:blipFill>
        <p:spPr>
          <a:xfrm>
            <a:off x="9450647" y="-194761"/>
            <a:ext cx="2881395" cy="2881395"/>
          </a:xfrm>
          <a:prstGeom prst="ellipse">
            <a:avLst/>
          </a:prstGeom>
          <a:ln>
            <a:noFill/>
          </a:ln>
        </p:spPr>
      </p:pic>
      <p:sp>
        <p:nvSpPr>
          <p:cNvPr id="2" name="Text Placeholder 4">
            <a:extLst>
              <a:ext uri="{FF2B5EF4-FFF2-40B4-BE49-F238E27FC236}">
                <a16:creationId xmlns:a16="http://schemas.microsoft.com/office/drawing/2014/main" id="{02F82E83-09F9-0167-70CF-3A81F890A1A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A3C17716-0064-658E-75D5-682FB9D56FF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9949150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ASHPAGE WE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323FBCDE-CAB9-449A-85C0-B8C741E8236C}"/>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98C08A2-264D-F340-99FB-2EA278AE2B0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68164460-BE58-69C0-3E03-65FD2E02CA8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69893C7D-6D5D-FE81-62DC-5E28E92A28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BE2B408-0BC5-F310-997F-D4834FCC842D}"/>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8A82FDF-3076-78AD-066E-EC6AB38ACEF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243271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49">
            <a:extLst>
              <a:ext uri="{FF2B5EF4-FFF2-40B4-BE49-F238E27FC236}">
                <a16:creationId xmlns:a16="http://schemas.microsoft.com/office/drawing/2014/main" id="{E6F26590-4515-4493-9748-C1D3865E573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6823" y="-180955"/>
            <a:ext cx="2881395" cy="2881395"/>
          </a:xfrm>
          <a:prstGeom prst="ellipse">
            <a:avLst/>
          </a:prstGeom>
          <a:ln>
            <a:noFill/>
          </a:ln>
        </p:spPr>
      </p:pic>
      <p:sp>
        <p:nvSpPr>
          <p:cNvPr id="2" name="Text Placeholder 4">
            <a:extLst>
              <a:ext uri="{FF2B5EF4-FFF2-40B4-BE49-F238E27FC236}">
                <a16:creationId xmlns:a16="http://schemas.microsoft.com/office/drawing/2014/main" id="{4681F249-64D6-2B9C-50FE-89D13B9D3D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1E5A36D-2F38-AC34-9FD3-2A619817432A}"/>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7717667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54">
            <a:extLst>
              <a:ext uri="{FF2B5EF4-FFF2-40B4-BE49-F238E27FC236}">
                <a16:creationId xmlns:a16="http://schemas.microsoft.com/office/drawing/2014/main" id="{99ED9B69-E260-4071-A1FE-0CAD30A88C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010" y="-158441"/>
            <a:ext cx="2881395" cy="2881395"/>
          </a:xfrm>
          <a:prstGeom prst="ellipse">
            <a:avLst/>
          </a:prstGeom>
          <a:ln>
            <a:noFill/>
          </a:ln>
        </p:spPr>
      </p:pic>
      <p:sp>
        <p:nvSpPr>
          <p:cNvPr id="2" name="Text Placeholder 4">
            <a:extLst>
              <a:ext uri="{FF2B5EF4-FFF2-40B4-BE49-F238E27FC236}">
                <a16:creationId xmlns:a16="http://schemas.microsoft.com/office/drawing/2014/main" id="{6CC04867-27C9-96F2-87EE-0D36ED363ED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30ED93D-3F55-B38C-D876-D6E52797ECE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87360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8F8C57A-9156-4C48-80B8-BB5DBA493B8B}"/>
              </a:ext>
            </a:extLst>
          </p:cNvPr>
          <p:cNvSpPr>
            <a:spLocks noChangeAspect="1"/>
          </p:cNvSpPr>
          <p:nvPr userDrawn="1"/>
        </p:nvSpPr>
        <p:spPr>
          <a:xfrm>
            <a:off x="9156146" y="-437487"/>
            <a:ext cx="3439291" cy="3406128"/>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D9BD97E-8857-487F-A778-D7DB70EA67CF}"/>
              </a:ext>
            </a:extLst>
          </p:cNvPr>
          <p:cNvSpPr>
            <a:spLocks noChangeAspect="1"/>
          </p:cNvSpPr>
          <p:nvPr userDrawn="1"/>
        </p:nvSpPr>
        <p:spPr>
          <a:xfrm>
            <a:off x="9242995" y="-345174"/>
            <a:ext cx="3261356" cy="3229908"/>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6C7233ED-32AA-4806-845D-0643D1B06CEE}"/>
              </a:ext>
            </a:extLst>
          </p:cNvPr>
          <p:cNvSpPr>
            <a:spLocks noGrp="1" noChangeAspect="1"/>
          </p:cNvSpPr>
          <p:nvPr>
            <p:ph type="pic" sz="quarter" idx="10"/>
          </p:nvPr>
        </p:nvSpPr>
        <p:spPr>
          <a:xfrm>
            <a:off x="9429064" y="-180364"/>
            <a:ext cx="2881395" cy="2881395"/>
          </a:xfrm>
          <a:prstGeom prst="ellipse">
            <a:avLst/>
          </a:prstGeom>
          <a:ln>
            <a:noFill/>
          </a:ln>
        </p:spPr>
        <p:txBody>
          <a:bodyPr/>
          <a:lstStyle/>
          <a:p>
            <a:endParaRPr lang="nl-NL" dirty="0"/>
          </a:p>
        </p:txBody>
      </p:sp>
      <p:sp>
        <p:nvSpPr>
          <p:cNvPr id="2" name="Text Placeholder 4">
            <a:extLst>
              <a:ext uri="{FF2B5EF4-FFF2-40B4-BE49-F238E27FC236}">
                <a16:creationId xmlns:a16="http://schemas.microsoft.com/office/drawing/2014/main" id="{5B59A2BB-D46E-B6C2-910B-FBC8C4C309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E11BC35-209B-1E4D-BA00-CF819DFE71B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5107181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C757CF11-20B2-4700-8713-4A67CFD8676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68041" y="3883604"/>
            <a:ext cx="3099286" cy="3099286"/>
          </a:xfrm>
          <a:prstGeom prst="ellipse">
            <a:avLst/>
          </a:prstGeom>
          <a:ln>
            <a:noFill/>
          </a:ln>
        </p:spPr>
      </p:pic>
      <p:sp>
        <p:nvSpPr>
          <p:cNvPr id="2" name="Text Placeholder 4">
            <a:extLst>
              <a:ext uri="{FF2B5EF4-FFF2-40B4-BE49-F238E27FC236}">
                <a16:creationId xmlns:a16="http://schemas.microsoft.com/office/drawing/2014/main" id="{AB05D7D2-A361-26D9-8597-1548C7AC3B59}"/>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Tree>
    <p:extLst>
      <p:ext uri="{BB962C8B-B14F-4D97-AF65-F5344CB8AC3E}">
        <p14:creationId xmlns:p14="http://schemas.microsoft.com/office/powerpoint/2010/main" val="19294879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9">
            <a:extLst>
              <a:ext uri="{FF2B5EF4-FFF2-40B4-BE49-F238E27FC236}">
                <a16:creationId xmlns:a16="http://schemas.microsoft.com/office/drawing/2014/main" id="{6881D655-B486-4AB5-B00C-EF67803F211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1165" y="3886995"/>
            <a:ext cx="3099286" cy="3099286"/>
          </a:xfrm>
          <a:prstGeom prst="ellipse">
            <a:avLst/>
          </a:prstGeom>
          <a:ln>
            <a:noFill/>
          </a:ln>
        </p:spPr>
      </p:pic>
      <p:sp>
        <p:nvSpPr>
          <p:cNvPr id="2" name="Text Placeholder 4">
            <a:extLst>
              <a:ext uri="{FF2B5EF4-FFF2-40B4-BE49-F238E27FC236}">
                <a16:creationId xmlns:a16="http://schemas.microsoft.com/office/drawing/2014/main" id="{BC52211A-A0E4-2340-873F-C3F4642AC0F0}"/>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C0E697B4-EA8F-5DDA-A4D3-A4677098D48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1125113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4">
            <a:extLst>
              <a:ext uri="{FF2B5EF4-FFF2-40B4-BE49-F238E27FC236}">
                <a16:creationId xmlns:a16="http://schemas.microsoft.com/office/drawing/2014/main" id="{9F00E62C-64C3-4F25-825D-900EFD72EB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084" y="3889550"/>
            <a:ext cx="3099286" cy="3099286"/>
          </a:xfrm>
          <a:prstGeom prst="ellipse">
            <a:avLst/>
          </a:prstGeom>
          <a:ln>
            <a:noFill/>
          </a:ln>
        </p:spPr>
      </p:pic>
      <p:sp>
        <p:nvSpPr>
          <p:cNvPr id="2" name="Text Placeholder 4">
            <a:extLst>
              <a:ext uri="{FF2B5EF4-FFF2-40B4-BE49-F238E27FC236}">
                <a16:creationId xmlns:a16="http://schemas.microsoft.com/office/drawing/2014/main" id="{B9F12178-4D40-7AE2-FE82-502E54B1FA5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D61CF9E-210C-8B20-D126-D52973C9E18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9735088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BCE4A188-44D9-4D50-8252-5E5A0F3389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6"/>
          <a:stretch/>
        </p:blipFill>
        <p:spPr>
          <a:xfrm>
            <a:off x="-168041" y="3878999"/>
            <a:ext cx="3099286" cy="3099286"/>
          </a:xfrm>
          <a:prstGeom prst="ellipse">
            <a:avLst/>
          </a:prstGeom>
          <a:ln>
            <a:noFill/>
          </a:ln>
        </p:spPr>
      </p:pic>
      <p:sp>
        <p:nvSpPr>
          <p:cNvPr id="2" name="Text Placeholder 4">
            <a:extLst>
              <a:ext uri="{FF2B5EF4-FFF2-40B4-BE49-F238E27FC236}">
                <a16:creationId xmlns:a16="http://schemas.microsoft.com/office/drawing/2014/main" id="{F0EF24D3-41DD-EA70-F8E6-3052AC7AB44C}"/>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5BA2BE26-86A4-B843-DF3A-F7627445C1B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334512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83" descr="A picture containing person&#10;&#10;Description automatically generated">
            <a:extLst>
              <a:ext uri="{FF2B5EF4-FFF2-40B4-BE49-F238E27FC236}">
                <a16:creationId xmlns:a16="http://schemas.microsoft.com/office/drawing/2014/main" id="{2BEA96F9-02D1-4229-BD4F-A862A957E8E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476" y="3879878"/>
            <a:ext cx="3099286" cy="3099286"/>
          </a:xfrm>
          <a:prstGeom prst="ellipse">
            <a:avLst/>
          </a:prstGeom>
          <a:ln>
            <a:noFill/>
          </a:ln>
        </p:spPr>
      </p:pic>
      <p:sp>
        <p:nvSpPr>
          <p:cNvPr id="2" name="Text Placeholder 4">
            <a:extLst>
              <a:ext uri="{FF2B5EF4-FFF2-40B4-BE49-F238E27FC236}">
                <a16:creationId xmlns:a16="http://schemas.microsoft.com/office/drawing/2014/main" id="{51FCD209-EEC2-42E5-3DDA-BBF466EAF54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A2B2CA9-3FE0-2379-9750-0E65B1DB9CA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446371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93" descr="A group of people sitting together smiling&#10;&#10;Description automatically generated with low confidence">
            <a:extLst>
              <a:ext uri="{FF2B5EF4-FFF2-40B4-BE49-F238E27FC236}">
                <a16:creationId xmlns:a16="http://schemas.microsoft.com/office/drawing/2014/main" id="{FDB658BD-59CB-4575-BA10-B7631BBE2C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2997" y="3894637"/>
            <a:ext cx="3099286" cy="3099286"/>
          </a:xfrm>
          <a:prstGeom prst="ellipse">
            <a:avLst/>
          </a:prstGeom>
          <a:ln>
            <a:noFill/>
          </a:ln>
        </p:spPr>
      </p:pic>
      <p:sp>
        <p:nvSpPr>
          <p:cNvPr id="2" name="Text Placeholder 4">
            <a:extLst>
              <a:ext uri="{FF2B5EF4-FFF2-40B4-BE49-F238E27FC236}">
                <a16:creationId xmlns:a16="http://schemas.microsoft.com/office/drawing/2014/main" id="{96EB3F94-F48E-3B19-BC28-05A0BDF98A0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B23E7F9-DFA6-583D-F6A9-49EB3DDACA58}"/>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91226973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78" descr="A picture containing person, nature, posing, night&#10;&#10;Description automatically generated">
            <a:extLst>
              <a:ext uri="{FF2B5EF4-FFF2-40B4-BE49-F238E27FC236}">
                <a16:creationId xmlns:a16="http://schemas.microsoft.com/office/drawing/2014/main" id="{CE3BAD35-B15E-4867-B64F-91EF87CAD9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034" y="3902164"/>
            <a:ext cx="3099286" cy="3099286"/>
          </a:xfrm>
          <a:prstGeom prst="ellipse">
            <a:avLst/>
          </a:prstGeom>
          <a:ln>
            <a:noFill/>
          </a:ln>
        </p:spPr>
      </p:pic>
      <p:sp>
        <p:nvSpPr>
          <p:cNvPr id="2" name="Text Placeholder 4">
            <a:extLst>
              <a:ext uri="{FF2B5EF4-FFF2-40B4-BE49-F238E27FC236}">
                <a16:creationId xmlns:a16="http://schemas.microsoft.com/office/drawing/2014/main" id="{E5539E6B-5C46-5838-0FF3-49C76F065EB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1B03378-4615-2964-F814-558142C60CD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259315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ASHPAGE WE 2">
    <p:bg>
      <p:bgPr>
        <a:solidFill>
          <a:schemeClr val="bg1"/>
        </a:solidFill>
        <a:effectLst/>
      </p:bgPr>
    </p:bg>
    <p:spTree>
      <p:nvGrpSpPr>
        <p:cNvPr id="1" name=""/>
        <p:cNvGrpSpPr/>
        <p:nvPr/>
      </p:nvGrpSpPr>
      <p:grpSpPr>
        <a:xfrm>
          <a:off x="0" y="0"/>
          <a:ext cx="0" cy="0"/>
          <a:chOff x="0" y="0"/>
          <a:chExt cx="0" cy="0"/>
        </a:xfrm>
      </p:grpSpPr>
      <p:pic>
        <p:nvPicPr>
          <p:cNvPr id="57" name="Picture 2">
            <a:extLst>
              <a:ext uri="{FF2B5EF4-FFF2-40B4-BE49-F238E27FC236}">
                <a16:creationId xmlns:a16="http://schemas.microsoft.com/office/drawing/2014/main" id="{EEDDF8FE-E60C-4C1E-B6C0-8988D3D76054}"/>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604A2C2B-9EE5-4F45-B951-1CD0A801AF1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96000" y="233950"/>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8B3A30EB-C172-26A1-9FD9-4809EB817D2E}"/>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1B678CF-FBEF-A14A-6A79-176FC9D5D47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F5AE004-E92B-C7F3-66B4-D62AA451926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8B45206-BB52-3CBF-356C-FD44932F47A3}"/>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F9AD28AC-8EA5-9758-B638-9132DB654164}"/>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9388570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8" descr="A picture containing person, table, indoor, food&#10;&#10;Description automatically generated">
            <a:extLst>
              <a:ext uri="{FF2B5EF4-FFF2-40B4-BE49-F238E27FC236}">
                <a16:creationId xmlns:a16="http://schemas.microsoft.com/office/drawing/2014/main" id="{443B7DCF-CD77-480D-99A9-9FD8FE86D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0547"/>
            <a:ext cx="3099286" cy="3099286"/>
          </a:xfrm>
          <a:prstGeom prst="ellipse">
            <a:avLst/>
          </a:prstGeom>
          <a:ln>
            <a:noFill/>
          </a:ln>
        </p:spPr>
      </p:pic>
      <p:sp>
        <p:nvSpPr>
          <p:cNvPr id="2" name="Text Placeholder 4">
            <a:extLst>
              <a:ext uri="{FF2B5EF4-FFF2-40B4-BE49-F238E27FC236}">
                <a16:creationId xmlns:a16="http://schemas.microsoft.com/office/drawing/2014/main" id="{FD3B4FFF-1D34-BA70-A464-650E0ECC68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EA4AE7E5-F5C8-7988-F9AC-06063E3E835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4565865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42" descr="A group of people posing for a photo&#10;&#10;Description automatically generated with medium confidence">
            <a:extLst>
              <a:ext uri="{FF2B5EF4-FFF2-40B4-BE49-F238E27FC236}">
                <a16:creationId xmlns:a16="http://schemas.microsoft.com/office/drawing/2014/main" id="{D9C6C32F-A67D-43A4-B6A2-6C535769DB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075" y="3887199"/>
            <a:ext cx="3099286" cy="3099286"/>
          </a:xfrm>
          <a:prstGeom prst="ellipse">
            <a:avLst/>
          </a:prstGeom>
          <a:ln>
            <a:noFill/>
          </a:ln>
        </p:spPr>
      </p:pic>
      <p:sp>
        <p:nvSpPr>
          <p:cNvPr id="2" name="Text Placeholder 4">
            <a:extLst>
              <a:ext uri="{FF2B5EF4-FFF2-40B4-BE49-F238E27FC236}">
                <a16:creationId xmlns:a16="http://schemas.microsoft.com/office/drawing/2014/main" id="{15A8739F-D054-0CC8-A201-3456FD33FADE}"/>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3FC7401-56C6-CAF8-7658-758AB941851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20609942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7">
            <a:extLst>
              <a:ext uri="{FF2B5EF4-FFF2-40B4-BE49-F238E27FC236}">
                <a16:creationId xmlns:a16="http://schemas.microsoft.com/office/drawing/2014/main" id="{8A194EB5-160B-44AE-8242-487F6D92BCF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3447" y="3875672"/>
            <a:ext cx="3099286" cy="3099286"/>
          </a:xfrm>
          <a:prstGeom prst="ellipse">
            <a:avLst/>
          </a:prstGeom>
          <a:ln>
            <a:noFill/>
          </a:ln>
        </p:spPr>
      </p:pic>
      <p:sp>
        <p:nvSpPr>
          <p:cNvPr id="2" name="Text Placeholder 4">
            <a:extLst>
              <a:ext uri="{FF2B5EF4-FFF2-40B4-BE49-F238E27FC236}">
                <a16:creationId xmlns:a16="http://schemas.microsoft.com/office/drawing/2014/main" id="{FF68B205-4774-024E-E7C5-5303481928E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ACD34773-EFE1-742E-6295-3B911F89A330}"/>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049091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32" descr="A picture containing person, young, child, blue&#10;&#10;Description automatically generated">
            <a:extLst>
              <a:ext uri="{FF2B5EF4-FFF2-40B4-BE49-F238E27FC236}">
                <a16:creationId xmlns:a16="http://schemas.microsoft.com/office/drawing/2014/main" id="{C33B0AB1-29FC-48E3-8DBC-E49844E4FF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9957" y="3885372"/>
            <a:ext cx="3099286" cy="3099286"/>
          </a:xfrm>
          <a:prstGeom prst="ellipse">
            <a:avLst/>
          </a:prstGeom>
          <a:ln>
            <a:noFill/>
          </a:ln>
        </p:spPr>
      </p:pic>
      <p:sp>
        <p:nvSpPr>
          <p:cNvPr id="2" name="Text Placeholder 4">
            <a:extLst>
              <a:ext uri="{FF2B5EF4-FFF2-40B4-BE49-F238E27FC236}">
                <a16:creationId xmlns:a16="http://schemas.microsoft.com/office/drawing/2014/main" id="{5EC48B3A-8F72-C0A9-D930-0A754B058E6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0A00CE4-004A-E11B-8B9D-CE74CADE79E1}"/>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58412273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27">
            <a:extLst>
              <a:ext uri="{FF2B5EF4-FFF2-40B4-BE49-F238E27FC236}">
                <a16:creationId xmlns:a16="http://schemas.microsoft.com/office/drawing/2014/main" id="{0398783E-4B82-4673-B152-445A093BBF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1559" y="3904500"/>
            <a:ext cx="3099286" cy="3099286"/>
          </a:xfrm>
          <a:prstGeom prst="ellipse">
            <a:avLst/>
          </a:prstGeom>
          <a:ln>
            <a:noFill/>
          </a:ln>
        </p:spPr>
      </p:pic>
      <p:sp>
        <p:nvSpPr>
          <p:cNvPr id="2" name="Text Placeholder 4">
            <a:extLst>
              <a:ext uri="{FF2B5EF4-FFF2-40B4-BE49-F238E27FC236}">
                <a16:creationId xmlns:a16="http://schemas.microsoft.com/office/drawing/2014/main" id="{2218BBCE-CD97-AB48-79DE-93D512B4261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392B855-BF08-36DD-F383-A40170DB178A}"/>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7871641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0">
            <a:extLst>
              <a:ext uri="{FF2B5EF4-FFF2-40B4-BE49-F238E27FC236}">
                <a16:creationId xmlns:a16="http://schemas.microsoft.com/office/drawing/2014/main" id="{CF089419-B63A-448E-8C4B-1756A680E69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87847" y="3870353"/>
            <a:ext cx="3099286" cy="3099286"/>
          </a:xfrm>
          <a:prstGeom prst="ellipse">
            <a:avLst/>
          </a:prstGeom>
          <a:ln>
            <a:noFill/>
          </a:ln>
        </p:spPr>
      </p:pic>
      <p:sp>
        <p:nvSpPr>
          <p:cNvPr id="2" name="Text Placeholder 4">
            <a:extLst>
              <a:ext uri="{FF2B5EF4-FFF2-40B4-BE49-F238E27FC236}">
                <a16:creationId xmlns:a16="http://schemas.microsoft.com/office/drawing/2014/main" id="{E42BD090-D304-DCE1-AECC-CCFFF6C9877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B959263-4CD4-00B7-2603-3C64F5C0BBA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4381529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5">
            <a:extLst>
              <a:ext uri="{FF2B5EF4-FFF2-40B4-BE49-F238E27FC236}">
                <a16:creationId xmlns:a16="http://schemas.microsoft.com/office/drawing/2014/main" id="{6A6263D6-E1C9-4223-935E-C582236E2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3820"/>
            <a:ext cx="3099286" cy="3099286"/>
          </a:xfrm>
          <a:prstGeom prst="ellipse">
            <a:avLst/>
          </a:prstGeom>
          <a:ln>
            <a:noFill/>
          </a:ln>
        </p:spPr>
      </p:pic>
      <p:sp>
        <p:nvSpPr>
          <p:cNvPr id="2" name="Text Placeholder 4">
            <a:extLst>
              <a:ext uri="{FF2B5EF4-FFF2-40B4-BE49-F238E27FC236}">
                <a16:creationId xmlns:a16="http://schemas.microsoft.com/office/drawing/2014/main" id="{2C1CFFE2-D345-6580-3818-B8EE1BDD47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EDF235D4-442E-C5AF-A003-F4EDD215B10E}"/>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193417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300">
            <a:extLst>
              <a:ext uri="{FF2B5EF4-FFF2-40B4-BE49-F238E27FC236}">
                <a16:creationId xmlns:a16="http://schemas.microsoft.com/office/drawing/2014/main" id="{004082D3-6256-49BE-972C-722630C460D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91675"/>
            <a:ext cx="3099286" cy="3099286"/>
          </a:xfrm>
          <a:prstGeom prst="ellipse">
            <a:avLst/>
          </a:prstGeom>
          <a:ln>
            <a:noFill/>
          </a:ln>
        </p:spPr>
      </p:pic>
      <p:sp>
        <p:nvSpPr>
          <p:cNvPr id="2" name="Text Placeholder 4">
            <a:extLst>
              <a:ext uri="{FF2B5EF4-FFF2-40B4-BE49-F238E27FC236}">
                <a16:creationId xmlns:a16="http://schemas.microsoft.com/office/drawing/2014/main" id="{AA34919F-E5AA-59C1-F491-16FB517EFF3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CEA5DF7-5445-1828-C925-41364F650FE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44152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05">
            <a:extLst>
              <a:ext uri="{FF2B5EF4-FFF2-40B4-BE49-F238E27FC236}">
                <a16:creationId xmlns:a16="http://schemas.microsoft.com/office/drawing/2014/main" id="{370EA77C-B79A-4A82-8FD7-2A64BA03F45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902654"/>
            <a:ext cx="3099286" cy="3099286"/>
          </a:xfrm>
          <a:prstGeom prst="ellipse">
            <a:avLst/>
          </a:prstGeom>
          <a:ln>
            <a:noFill/>
          </a:ln>
        </p:spPr>
      </p:pic>
      <p:sp>
        <p:nvSpPr>
          <p:cNvPr id="2" name="Text Placeholder 4">
            <a:extLst>
              <a:ext uri="{FF2B5EF4-FFF2-40B4-BE49-F238E27FC236}">
                <a16:creationId xmlns:a16="http://schemas.microsoft.com/office/drawing/2014/main" id="{AFEB6B1D-9CCE-9114-2420-B409480C0DA6}"/>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3E8E30F-198F-8361-6A80-D34672AB4CC8}"/>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5208383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 descr="A picture containing group, outdoor object, several&#10;&#10;Description automatically generated">
            <a:extLst>
              <a:ext uri="{FF2B5EF4-FFF2-40B4-BE49-F238E27FC236}">
                <a16:creationId xmlns:a16="http://schemas.microsoft.com/office/drawing/2014/main" id="{DF153A97-3AF5-4135-AE2D-80910CB0D75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9221" y="3894028"/>
            <a:ext cx="3099286" cy="3099286"/>
          </a:xfrm>
          <a:prstGeom prst="ellipse">
            <a:avLst/>
          </a:prstGeom>
          <a:ln>
            <a:noFill/>
          </a:ln>
        </p:spPr>
      </p:pic>
      <p:sp>
        <p:nvSpPr>
          <p:cNvPr id="2" name="Text Placeholder 4">
            <a:extLst>
              <a:ext uri="{FF2B5EF4-FFF2-40B4-BE49-F238E27FC236}">
                <a16:creationId xmlns:a16="http://schemas.microsoft.com/office/drawing/2014/main" id="{4B9BE4A9-B99A-3A55-7CCF-614213AE887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6F72FA7-DDE9-D222-8BC9-40B2EAACCC0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411693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ASHPAGE WE 3">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901E77CF-198E-4E69-A319-BCD113DCD8E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BC4F56E-5262-406E-9578-4A2516DA62D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A88625F2-FC69-6AAA-40FB-7004F9AB601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56235DF-D5B0-60D0-BD0B-AAAABFAF86A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24C1BAAC-DF5C-DA31-6523-245676CDC3B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F62384F0-47D9-B3C7-C0C8-4787723F9D5D}"/>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B6029AA7-1707-C3BB-66C4-0FEC66AAED6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775477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1" name="Picture Placeholder 22">
            <a:extLst>
              <a:ext uri="{FF2B5EF4-FFF2-40B4-BE49-F238E27FC236}">
                <a16:creationId xmlns:a16="http://schemas.microsoft.com/office/drawing/2014/main" id="{F62FB39F-C8B6-4D33-9D64-CD081FEA6D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7566" y="3875672"/>
            <a:ext cx="3099286" cy="3099286"/>
          </a:xfrm>
          <a:prstGeom prst="ellipse">
            <a:avLst/>
          </a:prstGeom>
          <a:ln>
            <a:noFill/>
          </a:ln>
        </p:spPr>
      </p:pic>
      <p:sp>
        <p:nvSpPr>
          <p:cNvPr id="2" name="Text Placeholder 4">
            <a:extLst>
              <a:ext uri="{FF2B5EF4-FFF2-40B4-BE49-F238E27FC236}">
                <a16:creationId xmlns:a16="http://schemas.microsoft.com/office/drawing/2014/main" id="{C0930490-0BC2-6968-37CE-ACA2A21039C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BC05AA62-7C5D-9EB5-50EA-83DB8653FE86}"/>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86881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13">
            <a:extLst>
              <a:ext uri="{FF2B5EF4-FFF2-40B4-BE49-F238E27FC236}">
                <a16:creationId xmlns:a16="http://schemas.microsoft.com/office/drawing/2014/main" id="{292C2F56-A34B-4793-B59C-B129297043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80025"/>
            <a:ext cx="3099286" cy="3099286"/>
          </a:xfrm>
          <a:prstGeom prst="ellipse">
            <a:avLst/>
          </a:prstGeom>
          <a:ln>
            <a:noFill/>
          </a:ln>
        </p:spPr>
      </p:pic>
      <p:sp>
        <p:nvSpPr>
          <p:cNvPr id="2" name="Text Placeholder 4">
            <a:extLst>
              <a:ext uri="{FF2B5EF4-FFF2-40B4-BE49-F238E27FC236}">
                <a16:creationId xmlns:a16="http://schemas.microsoft.com/office/drawing/2014/main" id="{94F970AB-A9F6-6011-A348-35C590E8EBC7}"/>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F5C670B-6318-DB4D-B41D-B44008017EAE}"/>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635315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ED89E262-300D-4549-BAE2-2AA6359CD5BD}"/>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C4992B1-A515-422C-BCE7-79A9CFA6DBB3}"/>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2" name="Picture Placeholder 2">
            <a:extLst>
              <a:ext uri="{FF2B5EF4-FFF2-40B4-BE49-F238E27FC236}">
                <a16:creationId xmlns:a16="http://schemas.microsoft.com/office/drawing/2014/main" id="{7AA559C4-4573-4F1C-BFBA-03E905C28250}"/>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dirty="0"/>
          </a:p>
        </p:txBody>
      </p:sp>
      <p:sp>
        <p:nvSpPr>
          <p:cNvPr id="2" name="Text Placeholder 4">
            <a:extLst>
              <a:ext uri="{FF2B5EF4-FFF2-40B4-BE49-F238E27FC236}">
                <a16:creationId xmlns:a16="http://schemas.microsoft.com/office/drawing/2014/main" id="{4D9D7510-67E6-ADEE-8F06-3694F353363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9EB5383-70C1-7351-9EA5-BBBC7720F39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9339999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8" name="Picture Placeholder 48">
            <a:extLst>
              <a:ext uri="{FF2B5EF4-FFF2-40B4-BE49-F238E27FC236}">
                <a16:creationId xmlns:a16="http://schemas.microsoft.com/office/drawing/2014/main" id="{D7211C63-4E70-45D7-BCDB-296FA0825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5287" y="3860828"/>
            <a:ext cx="3135814" cy="3135814"/>
          </a:xfrm>
          <a:prstGeom prst="ellipse">
            <a:avLst/>
          </a:prstGeom>
          <a:ln>
            <a:noFill/>
          </a:ln>
        </p:spPr>
      </p:pic>
      <p:sp>
        <p:nvSpPr>
          <p:cNvPr id="2" name="Text Placeholder 4">
            <a:extLst>
              <a:ext uri="{FF2B5EF4-FFF2-40B4-BE49-F238E27FC236}">
                <a16:creationId xmlns:a16="http://schemas.microsoft.com/office/drawing/2014/main" id="{8FB74730-EACE-9ACD-B68F-7CBB63F63F0F}"/>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AAC9951D-016B-5734-B156-2637F277BCC1}"/>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1650672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5">
            <a:extLst>
              <a:ext uri="{FF2B5EF4-FFF2-40B4-BE49-F238E27FC236}">
                <a16:creationId xmlns:a16="http://schemas.microsoft.com/office/drawing/2014/main" id="{9E995809-9436-4F21-A643-F2954160E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2557" y="3875512"/>
            <a:ext cx="3139355" cy="3139355"/>
          </a:xfrm>
          <a:prstGeom prst="ellipse">
            <a:avLst/>
          </a:prstGeom>
          <a:ln>
            <a:noFill/>
          </a:ln>
        </p:spPr>
      </p:pic>
      <p:sp>
        <p:nvSpPr>
          <p:cNvPr id="2" name="Text Placeholder 4">
            <a:extLst>
              <a:ext uri="{FF2B5EF4-FFF2-40B4-BE49-F238E27FC236}">
                <a16:creationId xmlns:a16="http://schemas.microsoft.com/office/drawing/2014/main" id="{4C50A551-1129-64D1-73AC-7ACF792F9B5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6077768-C233-8431-3395-C9C35D875D9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55127411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6">
            <a:extLst>
              <a:ext uri="{FF2B5EF4-FFF2-40B4-BE49-F238E27FC236}">
                <a16:creationId xmlns:a16="http://schemas.microsoft.com/office/drawing/2014/main" id="{AF17F5CB-58E7-4AA1-BB08-68518425C2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748" y="3871619"/>
            <a:ext cx="3139355" cy="3139355"/>
          </a:xfrm>
          <a:prstGeom prst="ellipse">
            <a:avLst/>
          </a:prstGeom>
          <a:ln>
            <a:noFill/>
          </a:ln>
        </p:spPr>
      </p:pic>
      <p:sp>
        <p:nvSpPr>
          <p:cNvPr id="2" name="Text Placeholder 4">
            <a:extLst>
              <a:ext uri="{FF2B5EF4-FFF2-40B4-BE49-F238E27FC236}">
                <a16:creationId xmlns:a16="http://schemas.microsoft.com/office/drawing/2014/main" id="{C5E28783-6439-657D-952D-806C92FD6B7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CB6F5466-C94C-ED15-DA72-5AF5DBE442D4}"/>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9758907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3">
            <a:extLst>
              <a:ext uri="{FF2B5EF4-FFF2-40B4-BE49-F238E27FC236}">
                <a16:creationId xmlns:a16="http://schemas.microsoft.com/office/drawing/2014/main" id="{1E7961BA-891F-4CAC-99A0-C091EA5DF0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193671" y="3870993"/>
            <a:ext cx="3117846" cy="3117846"/>
          </a:xfrm>
          <a:prstGeom prst="ellipse">
            <a:avLst/>
          </a:prstGeom>
          <a:ln>
            <a:noFill/>
          </a:ln>
        </p:spPr>
      </p:pic>
      <p:sp>
        <p:nvSpPr>
          <p:cNvPr id="2" name="Text Placeholder 4">
            <a:extLst>
              <a:ext uri="{FF2B5EF4-FFF2-40B4-BE49-F238E27FC236}">
                <a16:creationId xmlns:a16="http://schemas.microsoft.com/office/drawing/2014/main" id="{16882CBF-992B-06F1-ACA2-99C833370FF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52DC4BBF-473B-20C0-B9EC-3BAADDBB6277}"/>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965338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10" descr="A group of people on a street&#10;&#10;Description automatically generated with low confidence">
            <a:extLst>
              <a:ext uri="{FF2B5EF4-FFF2-40B4-BE49-F238E27FC236}">
                <a16:creationId xmlns:a16="http://schemas.microsoft.com/office/drawing/2014/main" id="{225F5785-36E8-4012-ADBF-807C1A3DB2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3302" y="3874079"/>
            <a:ext cx="3099286" cy="3099286"/>
          </a:xfrm>
          <a:prstGeom prst="ellipse">
            <a:avLst/>
          </a:prstGeom>
          <a:ln>
            <a:noFill/>
          </a:ln>
        </p:spPr>
      </p:pic>
      <p:sp>
        <p:nvSpPr>
          <p:cNvPr id="2" name="Text Placeholder 4">
            <a:extLst>
              <a:ext uri="{FF2B5EF4-FFF2-40B4-BE49-F238E27FC236}">
                <a16:creationId xmlns:a16="http://schemas.microsoft.com/office/drawing/2014/main" id="{07B43CEA-775B-1611-A357-F459FD5B4E2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253FE20-A2F6-7474-99A7-EC5524A04BC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4477495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0" descr="A picture containing person&#10;&#10;Description automatically generated">
            <a:extLst>
              <a:ext uri="{FF2B5EF4-FFF2-40B4-BE49-F238E27FC236}">
                <a16:creationId xmlns:a16="http://schemas.microsoft.com/office/drawing/2014/main" id="{B11D5694-5DEE-4DB6-BAD5-386B1EF1DC5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572" y="3887946"/>
            <a:ext cx="3099286" cy="3099286"/>
          </a:xfrm>
          <a:prstGeom prst="ellipse">
            <a:avLst/>
          </a:prstGeom>
          <a:ln>
            <a:noFill/>
          </a:ln>
        </p:spPr>
      </p:pic>
      <p:sp>
        <p:nvSpPr>
          <p:cNvPr id="2" name="Text Placeholder 4">
            <a:extLst>
              <a:ext uri="{FF2B5EF4-FFF2-40B4-BE49-F238E27FC236}">
                <a16:creationId xmlns:a16="http://schemas.microsoft.com/office/drawing/2014/main" id="{1C173192-5336-0151-0150-227934D1A49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43A1C03-CF7A-E327-3082-5068B2BE378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708174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115">
            <a:extLst>
              <a:ext uri="{FF2B5EF4-FFF2-40B4-BE49-F238E27FC236}">
                <a16:creationId xmlns:a16="http://schemas.microsoft.com/office/drawing/2014/main" id="{4AB86334-66A0-49E3-9BC7-D268DD2B8C6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236037" y="3883114"/>
            <a:ext cx="3188242" cy="3099286"/>
          </a:xfrm>
          <a:prstGeom prst="ellipse">
            <a:avLst/>
          </a:prstGeom>
          <a:ln>
            <a:noFill/>
          </a:ln>
        </p:spPr>
      </p:pic>
      <p:sp>
        <p:nvSpPr>
          <p:cNvPr id="2" name="Text Placeholder 4">
            <a:extLst>
              <a:ext uri="{FF2B5EF4-FFF2-40B4-BE49-F238E27FC236}">
                <a16:creationId xmlns:a16="http://schemas.microsoft.com/office/drawing/2014/main" id="{2196BBEF-82B4-E3F0-9B57-1EA910B06821}"/>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B44E7014-6940-B850-B884-E2317D448956}"/>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975550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ASHPAGE OTHER 1">
    <p:bg>
      <p:bgPr>
        <a:solidFill>
          <a:schemeClr val="bg1"/>
        </a:solidFill>
        <a:effectLst/>
      </p:bgPr>
    </p:bg>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71BF89A0-1ED4-4B9E-ADA5-5D2253BD0EC4}"/>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2D4EBE8-CEE6-E3C2-5CA9-5E656E4E1C2D}"/>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4739A1B-4BE1-4ED4-C6B7-F14CDEA6D73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85AFAE57-355C-62E9-E403-BA1D560DEB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EA50F90-3DF4-6476-DF1A-7B745CBB17E4}"/>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5F951137-54CE-1672-1D9C-3836C23760B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1808025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5">
            <a:extLst>
              <a:ext uri="{FF2B5EF4-FFF2-40B4-BE49-F238E27FC236}">
                <a16:creationId xmlns:a16="http://schemas.microsoft.com/office/drawing/2014/main" id="{3431807D-63FE-497C-BD67-8A68B9173F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19847395">
            <a:off x="-192047" y="3870546"/>
            <a:ext cx="3099286" cy="3099286"/>
          </a:xfrm>
          <a:prstGeom prst="ellipse">
            <a:avLst/>
          </a:prstGeom>
          <a:ln>
            <a:noFill/>
          </a:ln>
        </p:spPr>
      </p:pic>
      <p:sp>
        <p:nvSpPr>
          <p:cNvPr id="2" name="Text Placeholder 4">
            <a:extLst>
              <a:ext uri="{FF2B5EF4-FFF2-40B4-BE49-F238E27FC236}">
                <a16:creationId xmlns:a16="http://schemas.microsoft.com/office/drawing/2014/main" id="{EA31FA30-15FE-35BA-56FF-B59B64A418D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0BB9D40-55B6-AA54-88A5-02B3519DB9C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5581720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9" descr="A group of people posing for the camera&#10;&#10;Description automatically generated">
            <a:extLst>
              <a:ext uri="{FF2B5EF4-FFF2-40B4-BE49-F238E27FC236}">
                <a16:creationId xmlns:a16="http://schemas.microsoft.com/office/drawing/2014/main" id="{8BA5FB57-078F-4B47-AF95-640ACAB77F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4412" y="3876776"/>
            <a:ext cx="3099286" cy="3099286"/>
          </a:xfrm>
          <a:prstGeom prst="ellipse">
            <a:avLst/>
          </a:prstGeom>
          <a:ln>
            <a:noFill/>
          </a:ln>
        </p:spPr>
      </p:pic>
      <p:sp>
        <p:nvSpPr>
          <p:cNvPr id="2" name="Text Placeholder 4">
            <a:extLst>
              <a:ext uri="{FF2B5EF4-FFF2-40B4-BE49-F238E27FC236}">
                <a16:creationId xmlns:a16="http://schemas.microsoft.com/office/drawing/2014/main" id="{8EE04900-C7BB-816D-AA87-9B597C188912}"/>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5DEDF1C-80FA-B119-C252-2C2B36F7C311}"/>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850219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68" descr="A picture containing tree, outdoor, person, dancer&#10;&#10;Description automatically generated">
            <a:extLst>
              <a:ext uri="{FF2B5EF4-FFF2-40B4-BE49-F238E27FC236}">
                <a16:creationId xmlns:a16="http://schemas.microsoft.com/office/drawing/2014/main" id="{F711B68A-6DF4-479C-AE44-0AA34B15BB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6192" y="3885112"/>
            <a:ext cx="3099286" cy="3099286"/>
          </a:xfrm>
          <a:prstGeom prst="ellipse">
            <a:avLst/>
          </a:prstGeom>
          <a:ln>
            <a:noFill/>
          </a:ln>
        </p:spPr>
      </p:pic>
      <p:sp>
        <p:nvSpPr>
          <p:cNvPr id="2" name="Text Placeholder 4">
            <a:extLst>
              <a:ext uri="{FF2B5EF4-FFF2-40B4-BE49-F238E27FC236}">
                <a16:creationId xmlns:a16="http://schemas.microsoft.com/office/drawing/2014/main" id="{FE3FC44C-B20D-AB03-79C6-D86A3E1E028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A6645620-855E-BE1A-05A7-0A680677C7C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2941342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49" descr="A person smiling for the camera&#10;&#10;Description automatically generated with low confidence">
            <a:extLst>
              <a:ext uri="{FF2B5EF4-FFF2-40B4-BE49-F238E27FC236}">
                <a16:creationId xmlns:a16="http://schemas.microsoft.com/office/drawing/2014/main" id="{935FA9BF-2295-4B29-BC3E-3C8AF72F39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512"/>
          <a:stretch/>
        </p:blipFill>
        <p:spPr>
          <a:xfrm>
            <a:off x="-191559" y="3880025"/>
            <a:ext cx="3099286" cy="3099286"/>
          </a:xfrm>
          <a:prstGeom prst="ellipse">
            <a:avLst/>
          </a:prstGeom>
          <a:ln>
            <a:noFill/>
          </a:ln>
        </p:spPr>
      </p:pic>
      <p:sp>
        <p:nvSpPr>
          <p:cNvPr id="2" name="Text Placeholder 4">
            <a:extLst>
              <a:ext uri="{FF2B5EF4-FFF2-40B4-BE49-F238E27FC236}">
                <a16:creationId xmlns:a16="http://schemas.microsoft.com/office/drawing/2014/main" id="{4AE82E02-6B0B-A577-B2F2-135213BC524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Tree>
    <p:extLst>
      <p:ext uri="{BB962C8B-B14F-4D97-AF65-F5344CB8AC3E}">
        <p14:creationId xmlns:p14="http://schemas.microsoft.com/office/powerpoint/2010/main" val="3605607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4">
            <a:extLst>
              <a:ext uri="{FF2B5EF4-FFF2-40B4-BE49-F238E27FC236}">
                <a16:creationId xmlns:a16="http://schemas.microsoft.com/office/drawing/2014/main" id="{E722BDB4-AFBC-4CF8-9637-2C7A1C096BF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185" y="3903063"/>
            <a:ext cx="3099286" cy="3099286"/>
          </a:xfrm>
          <a:prstGeom prst="ellipse">
            <a:avLst/>
          </a:prstGeom>
          <a:ln>
            <a:noFill/>
          </a:ln>
        </p:spPr>
      </p:pic>
      <p:sp>
        <p:nvSpPr>
          <p:cNvPr id="2" name="Text Placeholder 4">
            <a:extLst>
              <a:ext uri="{FF2B5EF4-FFF2-40B4-BE49-F238E27FC236}">
                <a16:creationId xmlns:a16="http://schemas.microsoft.com/office/drawing/2014/main" id="{300158F2-B5A0-9EE0-1CE8-CA53150D371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058C232-660E-BDC2-C6CB-A58F75C795A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62031009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3" name="Picture Placeholder 327">
            <a:extLst>
              <a:ext uri="{FF2B5EF4-FFF2-40B4-BE49-F238E27FC236}">
                <a16:creationId xmlns:a16="http://schemas.microsoft.com/office/drawing/2014/main" id="{86EC53AA-B894-44D7-AF2F-06DC7099700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1965" y="3870353"/>
            <a:ext cx="3099286" cy="3099286"/>
          </a:xfrm>
          <a:prstGeom prst="ellipse">
            <a:avLst/>
          </a:prstGeom>
          <a:ln>
            <a:noFill/>
          </a:ln>
        </p:spPr>
      </p:pic>
      <p:sp>
        <p:nvSpPr>
          <p:cNvPr id="2" name="Text Placeholder 4">
            <a:extLst>
              <a:ext uri="{FF2B5EF4-FFF2-40B4-BE49-F238E27FC236}">
                <a16:creationId xmlns:a16="http://schemas.microsoft.com/office/drawing/2014/main" id="{14F483C1-B49C-330F-752A-78787FE57A8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E6912EFE-0986-7C9F-3B49-8DF2D79A0C36}"/>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1794727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22">
            <a:extLst>
              <a:ext uri="{FF2B5EF4-FFF2-40B4-BE49-F238E27FC236}">
                <a16:creationId xmlns:a16="http://schemas.microsoft.com/office/drawing/2014/main" id="{F0503EE0-A034-4D08-A44B-F3FAD7DB1B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3C159B47-D0BD-9EFA-DDC5-404E9843B19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E7F2CA7-87C6-3BF8-2BAF-8E8857FA1CC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439911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312">
            <a:extLst>
              <a:ext uri="{FF2B5EF4-FFF2-40B4-BE49-F238E27FC236}">
                <a16:creationId xmlns:a16="http://schemas.microsoft.com/office/drawing/2014/main" id="{BD24E543-1458-43DD-BFC5-0D7FF1B21D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1559" y="3886289"/>
            <a:ext cx="3099286" cy="3099286"/>
          </a:xfrm>
          <a:prstGeom prst="ellipse">
            <a:avLst/>
          </a:prstGeom>
          <a:ln>
            <a:noFill/>
          </a:ln>
        </p:spPr>
      </p:pic>
      <p:sp>
        <p:nvSpPr>
          <p:cNvPr id="2" name="Text Placeholder 4">
            <a:extLst>
              <a:ext uri="{FF2B5EF4-FFF2-40B4-BE49-F238E27FC236}">
                <a16:creationId xmlns:a16="http://schemas.microsoft.com/office/drawing/2014/main" id="{9074426F-5955-9658-D480-559C2ED11E30}"/>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AB42409-2226-60F7-ED84-58A02B58EB5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88903399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17">
            <a:extLst>
              <a:ext uri="{FF2B5EF4-FFF2-40B4-BE49-F238E27FC236}">
                <a16:creationId xmlns:a16="http://schemas.microsoft.com/office/drawing/2014/main" id="{E0B8574E-2138-4BD8-A820-97327E977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971" y="3902654"/>
            <a:ext cx="3099286" cy="3099286"/>
          </a:xfrm>
          <a:prstGeom prst="ellipse">
            <a:avLst/>
          </a:prstGeom>
          <a:ln>
            <a:noFill/>
          </a:ln>
        </p:spPr>
      </p:pic>
      <p:sp>
        <p:nvSpPr>
          <p:cNvPr id="2" name="Text Placeholder 4">
            <a:extLst>
              <a:ext uri="{FF2B5EF4-FFF2-40B4-BE49-F238E27FC236}">
                <a16:creationId xmlns:a16="http://schemas.microsoft.com/office/drawing/2014/main" id="{21B01A5D-3C4C-DA11-5B02-1B7BD66D293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8983C4D-5970-0A61-62E8-46CF4E374FE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7092779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3" descr="A picture containing tree, grass, outdoor, mammal&#10;&#10;Description automatically generated">
            <a:extLst>
              <a:ext uri="{FF2B5EF4-FFF2-40B4-BE49-F238E27FC236}">
                <a16:creationId xmlns:a16="http://schemas.microsoft.com/office/drawing/2014/main" id="{29386B9E-0158-4D2E-B90D-4F7D021EE3F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8573"/>
            <a:ext cx="3099286" cy="3099286"/>
          </a:xfrm>
          <a:prstGeom prst="ellipse">
            <a:avLst/>
          </a:prstGeom>
          <a:ln>
            <a:noFill/>
          </a:ln>
        </p:spPr>
      </p:pic>
      <p:sp>
        <p:nvSpPr>
          <p:cNvPr id="2" name="Text Placeholder 4">
            <a:extLst>
              <a:ext uri="{FF2B5EF4-FFF2-40B4-BE49-F238E27FC236}">
                <a16:creationId xmlns:a16="http://schemas.microsoft.com/office/drawing/2014/main" id="{0956700F-9559-0327-1CE1-4336869F0B2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70EAA83-C4EB-472E-C26A-C8B65A5CD744}"/>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853828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LASHPAGE OTHER 2">
    <p:bg>
      <p:bgPr>
        <a:solidFill>
          <a:schemeClr val="bg1"/>
        </a:solidFill>
        <a:effectLst/>
      </p:bgPr>
    </p:bg>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2537D922-E4E8-49DC-B9E7-B6F010A501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91A12299-FFD0-456E-A436-9898388F9DD4}"/>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C77738E-1E5F-79DC-445F-DAA3B205B7B3}"/>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33758B7B-40C0-B729-9069-F657C381D72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DF189606-D64C-3CAD-CFE1-ABA763AD072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DD7633B-F760-E395-157B-55FD8FD547C9}"/>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1FD53DCD-6951-926D-67CB-10C06DE8127A}"/>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049985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8" descr="A body of water with trees and buildings in the background&#10;&#10;Description automatically generated">
            <a:extLst>
              <a:ext uri="{FF2B5EF4-FFF2-40B4-BE49-F238E27FC236}">
                <a16:creationId xmlns:a16="http://schemas.microsoft.com/office/drawing/2014/main" id="{022707BC-008E-4029-900F-DB8EBCC1B4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C405EF3F-4F6D-83C4-2999-C886731591D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C823575B-C790-C2DB-6228-287ECB97FFF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50054471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83" descr="A bridge over a river with a building in the background&#10;&#10;Description automatically generated with low confidence">
            <a:extLst>
              <a:ext uri="{FF2B5EF4-FFF2-40B4-BE49-F238E27FC236}">
                <a16:creationId xmlns:a16="http://schemas.microsoft.com/office/drawing/2014/main" id="{F1C526DE-E9AC-4549-AE40-6C080ADC9A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99"/>
          <a:stretch/>
        </p:blipFill>
        <p:spPr>
          <a:xfrm>
            <a:off x="-189339" y="3897277"/>
            <a:ext cx="3099286" cy="3099286"/>
          </a:xfrm>
          <a:prstGeom prst="ellipse">
            <a:avLst/>
          </a:prstGeom>
          <a:ln>
            <a:noFill/>
          </a:ln>
        </p:spPr>
      </p:pic>
      <p:sp>
        <p:nvSpPr>
          <p:cNvPr id="2" name="Text Placeholder 4">
            <a:extLst>
              <a:ext uri="{FF2B5EF4-FFF2-40B4-BE49-F238E27FC236}">
                <a16:creationId xmlns:a16="http://schemas.microsoft.com/office/drawing/2014/main" id="{DE27A871-2DAA-A27C-6D89-71959D5BAA4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BE487E8-BF4E-BAA2-B76B-6EB8833951F4}"/>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83528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46773015-87F9-4F63-A42F-529A3B2610AB}"/>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98CA7951-F87D-46AC-B63B-781567473D72}"/>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Picture Placeholder 2">
            <a:extLst>
              <a:ext uri="{FF2B5EF4-FFF2-40B4-BE49-F238E27FC236}">
                <a16:creationId xmlns:a16="http://schemas.microsoft.com/office/drawing/2014/main" id="{8E38B319-A30A-4CC5-A1A0-54DBF80AC85B}"/>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dirty="0"/>
          </a:p>
        </p:txBody>
      </p:sp>
      <p:sp>
        <p:nvSpPr>
          <p:cNvPr id="2" name="Text Placeholder 4">
            <a:extLst>
              <a:ext uri="{FF2B5EF4-FFF2-40B4-BE49-F238E27FC236}">
                <a16:creationId xmlns:a16="http://schemas.microsoft.com/office/drawing/2014/main" id="{A80287C8-7282-DB87-6C05-E56D612B1A1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1F2FF33-EAB0-C89F-794A-055871051DD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186314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CTIVITY TRANSITION PAGEA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6" descr="A group of people raising their hands&#10;&#10;Description automatically generated with medium confidence">
            <a:extLst>
              <a:ext uri="{FF2B5EF4-FFF2-40B4-BE49-F238E27FC236}">
                <a16:creationId xmlns:a16="http://schemas.microsoft.com/office/drawing/2014/main" id="{D58FC17E-4343-4A66-8DCF-A0AA2542816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6606" y="2323047"/>
            <a:ext cx="4854932" cy="4854932"/>
          </a:xfrm>
          <a:prstGeom prst="ellipse">
            <a:avLst/>
          </a:prstGeom>
        </p:spPr>
      </p:pic>
      <p:sp>
        <p:nvSpPr>
          <p:cNvPr id="2" name="Slide Number Placeholder 1">
            <a:extLst>
              <a:ext uri="{FF2B5EF4-FFF2-40B4-BE49-F238E27FC236}">
                <a16:creationId xmlns:a16="http://schemas.microsoft.com/office/drawing/2014/main" id="{ACC6F881-1D27-F806-EB19-8D14E7DB03D7}"/>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859596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CTIVITY 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12" descr="A person wearing headphones and holding a glass of beer&#10;&#10;Description automatically generated with medium confidence">
            <a:extLst>
              <a:ext uri="{FF2B5EF4-FFF2-40B4-BE49-F238E27FC236}">
                <a16:creationId xmlns:a16="http://schemas.microsoft.com/office/drawing/2014/main" id="{54C6C8D7-A8D1-41D6-A073-0F1FCBA74F3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98"/>
          <a:stretch/>
        </p:blipFill>
        <p:spPr>
          <a:xfrm>
            <a:off x="-639058" y="2309880"/>
            <a:ext cx="4854932" cy="4854932"/>
          </a:xfrm>
          <a:prstGeom prst="ellipse">
            <a:avLst/>
          </a:prstGeom>
        </p:spPr>
      </p:pic>
      <p:sp>
        <p:nvSpPr>
          <p:cNvPr id="2" name="Slide Number Placeholder 1">
            <a:extLst>
              <a:ext uri="{FF2B5EF4-FFF2-40B4-BE49-F238E27FC236}">
                <a16:creationId xmlns:a16="http://schemas.microsoft.com/office/drawing/2014/main" id="{A74B085F-4C2F-4D37-6115-21590A26AEDA}"/>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9450463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CTIVITY 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30" name="Picture Placeholder 7">
            <a:extLst>
              <a:ext uri="{FF2B5EF4-FFF2-40B4-BE49-F238E27FC236}">
                <a16:creationId xmlns:a16="http://schemas.microsoft.com/office/drawing/2014/main" id="{0A6FF159-8155-4AC7-B0C8-4F8248DDED8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63"/>
          <a:stretch/>
        </p:blipFill>
        <p:spPr>
          <a:xfrm>
            <a:off x="-623860" y="2309880"/>
            <a:ext cx="4854932" cy="4854932"/>
          </a:xfrm>
          <a:prstGeom prst="ellipse">
            <a:avLst/>
          </a:prstGeom>
          <a:ln>
            <a:noFill/>
          </a:ln>
        </p:spPr>
      </p:pic>
      <p:sp>
        <p:nvSpPr>
          <p:cNvPr id="2" name="Slide Number Placeholder 1">
            <a:extLst>
              <a:ext uri="{FF2B5EF4-FFF2-40B4-BE49-F238E27FC236}">
                <a16:creationId xmlns:a16="http://schemas.microsoft.com/office/drawing/2014/main" id="{9BB50647-748D-E66B-695E-2438787152BB}"/>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61707920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CTIVITY 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127">
            <a:extLst>
              <a:ext uri="{FF2B5EF4-FFF2-40B4-BE49-F238E27FC236}">
                <a16:creationId xmlns:a16="http://schemas.microsoft.com/office/drawing/2014/main" id="{745B3249-9840-401F-8B6E-9957F3E68C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394"/>
          <a:stretch/>
        </p:blipFill>
        <p:spPr>
          <a:xfrm>
            <a:off x="-64446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3C0FA7DA-9035-A792-EBBF-1732179D9229}"/>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80617294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CTIVITY 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7" descr="A picture containing person, sport, dancer, colorful&#10;&#10;Description automatically generated">
            <a:extLst>
              <a:ext uri="{FF2B5EF4-FFF2-40B4-BE49-F238E27FC236}">
                <a16:creationId xmlns:a16="http://schemas.microsoft.com/office/drawing/2014/main" id="{4A7875E8-45E8-4AB0-BAF3-2EA96ECA49E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6560" y="2316829"/>
            <a:ext cx="4854932" cy="4854932"/>
          </a:xfrm>
          <a:prstGeom prst="ellipse">
            <a:avLst/>
          </a:prstGeom>
          <a:ln>
            <a:noFill/>
          </a:ln>
        </p:spPr>
      </p:pic>
      <p:sp>
        <p:nvSpPr>
          <p:cNvPr id="2" name="Slide Number Placeholder 1">
            <a:extLst>
              <a:ext uri="{FF2B5EF4-FFF2-40B4-BE49-F238E27FC236}">
                <a16:creationId xmlns:a16="http://schemas.microsoft.com/office/drawing/2014/main" id="{66811748-1867-BD3E-DEA5-527F2A2D0B5D}"/>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2515366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CTIVITY 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22" descr="A picture containing person&#10;&#10;Description automatically generated">
            <a:extLst>
              <a:ext uri="{FF2B5EF4-FFF2-40B4-BE49-F238E27FC236}">
                <a16:creationId xmlns:a16="http://schemas.microsoft.com/office/drawing/2014/main" id="{3CC4E0A8-6E4A-4188-93BF-5BF5BB59F7F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785" y="2309880"/>
            <a:ext cx="4854932" cy="4854932"/>
          </a:xfrm>
          <a:prstGeom prst="ellipse">
            <a:avLst/>
          </a:prstGeom>
          <a:ln>
            <a:noFill/>
          </a:ln>
        </p:spPr>
      </p:pic>
      <p:sp>
        <p:nvSpPr>
          <p:cNvPr id="2" name="Slide Number Placeholder 1">
            <a:extLst>
              <a:ext uri="{FF2B5EF4-FFF2-40B4-BE49-F238E27FC236}">
                <a16:creationId xmlns:a16="http://schemas.microsoft.com/office/drawing/2014/main" id="{027B9500-905E-1D9A-6337-3C6AC06188A2}"/>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93257997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CTIVITY 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2" descr="A group of people running&#10;&#10;Description automatically generated">
            <a:extLst>
              <a:ext uri="{FF2B5EF4-FFF2-40B4-BE49-F238E27FC236}">
                <a16:creationId xmlns:a16="http://schemas.microsoft.com/office/drawing/2014/main" id="{E8F50E11-BDD9-4689-9DC0-7A17376FE2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905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8C02A54C-D686-11F9-7E36-B7286D01543E}"/>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977397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LASHPAGE OTHER 3">
    <p:bg>
      <p:bgPr>
        <a:solidFill>
          <a:schemeClr val="bg1"/>
        </a:solidFill>
        <a:effectLst/>
      </p:bgPr>
    </p:bg>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AA636C35-A380-4E44-A95F-3CE58889242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4651BD9E-62BA-477E-B88C-39A2153FF55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A0A3853-7AA8-B58E-3AF0-8FC99F17D3BC}"/>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B5926DE-6D18-24F7-76A3-4B1ED049FBC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BA2DE7B0-A997-A4AF-1469-A1DBD15EDDB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42BBA0B-4195-43EF-84F9-EDB5B51C53F2}"/>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6345F75-5260-A610-FE9E-1E8C62DC2DF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4285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CTIVITY 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15" descr="A person with his arms crossed&#10;&#10;Description automatically generated with low confidence">
            <a:extLst>
              <a:ext uri="{FF2B5EF4-FFF2-40B4-BE49-F238E27FC236}">
                <a16:creationId xmlns:a16="http://schemas.microsoft.com/office/drawing/2014/main" id="{B270CD26-81BF-4B49-80D1-F7BA27BFA55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F5CC8537-BAB3-6169-4942-8C348A597470}"/>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0401114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CTIVITY 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5">
            <a:extLst>
              <a:ext uri="{FF2B5EF4-FFF2-40B4-BE49-F238E27FC236}">
                <a16:creationId xmlns:a16="http://schemas.microsoft.com/office/drawing/2014/main" id="{7E2B29AF-A8AF-4F10-8141-C9E9DCB50BB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020" y="2322580"/>
            <a:ext cx="4854932" cy="4854932"/>
          </a:xfrm>
          <a:prstGeom prst="ellipse">
            <a:avLst/>
          </a:prstGeom>
          <a:ln>
            <a:noFill/>
          </a:ln>
        </p:spPr>
      </p:pic>
      <p:sp>
        <p:nvSpPr>
          <p:cNvPr id="2" name="Slide Number Placeholder 1">
            <a:extLst>
              <a:ext uri="{FF2B5EF4-FFF2-40B4-BE49-F238E27FC236}">
                <a16:creationId xmlns:a16="http://schemas.microsoft.com/office/drawing/2014/main" id="{BD034BB2-964B-D6E7-4DA3-0A20C0F9BCF9}"/>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447160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CTIVITY 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120" descr="A group of men posing for a photo&#10;&#10;Description automatically generated with medium confidence">
            <a:extLst>
              <a:ext uri="{FF2B5EF4-FFF2-40B4-BE49-F238E27FC236}">
                <a16:creationId xmlns:a16="http://schemas.microsoft.com/office/drawing/2014/main" id="{446A5102-6050-4F3E-B172-F44565CECB9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8524" y="2323047"/>
            <a:ext cx="4854932" cy="4854932"/>
          </a:xfrm>
          <a:prstGeom prst="ellipse">
            <a:avLst/>
          </a:prstGeom>
          <a:ln>
            <a:noFill/>
          </a:ln>
        </p:spPr>
      </p:pic>
      <p:sp>
        <p:nvSpPr>
          <p:cNvPr id="2" name="Slide Number Placeholder 1">
            <a:extLst>
              <a:ext uri="{FF2B5EF4-FFF2-40B4-BE49-F238E27FC236}">
                <a16:creationId xmlns:a16="http://schemas.microsoft.com/office/drawing/2014/main" id="{74F9796E-AB9F-48D7-4CCF-CFDB258D70B5}"/>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6443909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CTIVITY 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10">
            <a:extLst>
              <a:ext uri="{FF2B5EF4-FFF2-40B4-BE49-F238E27FC236}">
                <a16:creationId xmlns:a16="http://schemas.microsoft.com/office/drawing/2014/main" id="{55C3F078-CE24-4D1A-9486-E980260B9E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1358" y="2322580"/>
            <a:ext cx="4854932" cy="4854932"/>
          </a:xfrm>
          <a:prstGeom prst="ellipse">
            <a:avLst/>
          </a:prstGeom>
          <a:ln>
            <a:noFill/>
          </a:ln>
        </p:spPr>
      </p:pic>
    </p:spTree>
    <p:extLst>
      <p:ext uri="{BB962C8B-B14F-4D97-AF65-F5344CB8AC3E}">
        <p14:creationId xmlns:p14="http://schemas.microsoft.com/office/powerpoint/2010/main" val="20174288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CTIVITY 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341">
            <a:extLst>
              <a:ext uri="{FF2B5EF4-FFF2-40B4-BE49-F238E27FC236}">
                <a16:creationId xmlns:a16="http://schemas.microsoft.com/office/drawing/2014/main" id="{9A8927FA-857E-4E98-A171-4CFB0A6283F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8E307747-BDC3-415F-B92E-0CBFAE221BEB}"/>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1736671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CTIVITY 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355">
            <a:extLst>
              <a:ext uri="{FF2B5EF4-FFF2-40B4-BE49-F238E27FC236}">
                <a16:creationId xmlns:a16="http://schemas.microsoft.com/office/drawing/2014/main" id="{95E7CFCD-6A83-409B-9BB3-F865EA42260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40169" y="2316829"/>
            <a:ext cx="4854932" cy="4854932"/>
          </a:xfrm>
          <a:prstGeom prst="ellipse">
            <a:avLst/>
          </a:prstGeom>
          <a:ln>
            <a:noFill/>
          </a:ln>
        </p:spPr>
      </p:pic>
      <p:sp>
        <p:nvSpPr>
          <p:cNvPr id="2" name="Slide Number Placeholder 1">
            <a:extLst>
              <a:ext uri="{FF2B5EF4-FFF2-40B4-BE49-F238E27FC236}">
                <a16:creationId xmlns:a16="http://schemas.microsoft.com/office/drawing/2014/main" id="{92FAF34C-CC45-175F-8540-2EF5B67B0A3C}"/>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9261903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CTIVITY 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336">
            <a:extLst>
              <a:ext uri="{FF2B5EF4-FFF2-40B4-BE49-F238E27FC236}">
                <a16:creationId xmlns:a16="http://schemas.microsoft.com/office/drawing/2014/main" id="{36225AA7-1C9F-448C-AB15-08CAAF1D7A5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305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111A34BF-A5D4-9674-3172-BCA9BED6A8AB}"/>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47867747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CTIVITY 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1" name="Picture Placeholder 346" descr="A picture containing person, water sport, sport, swimming&#10;&#10;Description automatically generated">
            <a:extLst>
              <a:ext uri="{FF2B5EF4-FFF2-40B4-BE49-F238E27FC236}">
                <a16:creationId xmlns:a16="http://schemas.microsoft.com/office/drawing/2014/main" id="{6533F9B4-4AD2-4AC3-A26C-895C6964BAC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169" y="2309880"/>
            <a:ext cx="4854932" cy="4854932"/>
          </a:xfrm>
          <a:prstGeom prst="ellipse">
            <a:avLst/>
          </a:prstGeom>
          <a:ln>
            <a:noFill/>
          </a:ln>
        </p:spPr>
      </p:pic>
      <p:sp>
        <p:nvSpPr>
          <p:cNvPr id="2" name="Slide Number Placeholder 1">
            <a:extLst>
              <a:ext uri="{FF2B5EF4-FFF2-40B4-BE49-F238E27FC236}">
                <a16:creationId xmlns:a16="http://schemas.microsoft.com/office/drawing/2014/main" id="{0191D303-EBED-5B06-EE7F-FFDC12252F66}"/>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55088745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CTIVITY 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95" descr="A picture containing dark&#10;&#10;Description automatically generated">
            <a:extLst>
              <a:ext uri="{FF2B5EF4-FFF2-40B4-BE49-F238E27FC236}">
                <a16:creationId xmlns:a16="http://schemas.microsoft.com/office/drawing/2014/main" id="{8A180B2A-BF2D-4FEB-9346-9B7C410B5A5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8374" y="2309880"/>
            <a:ext cx="4854932" cy="4854932"/>
          </a:xfrm>
          <a:prstGeom prst="ellipse">
            <a:avLst/>
          </a:prstGeom>
          <a:ln>
            <a:noFill/>
          </a:ln>
        </p:spPr>
      </p:pic>
      <p:sp>
        <p:nvSpPr>
          <p:cNvPr id="2" name="Slide Number Placeholder 1">
            <a:extLst>
              <a:ext uri="{FF2B5EF4-FFF2-40B4-BE49-F238E27FC236}">
                <a16:creationId xmlns:a16="http://schemas.microsoft.com/office/drawing/2014/main" id="{94052C86-9BF1-137C-8ABF-D5FB04130130}"/>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1776357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CTIVITY 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90" descr="A picture containing building, outdoor, blue, stone&#10;&#10;Description automatically generated">
            <a:extLst>
              <a:ext uri="{FF2B5EF4-FFF2-40B4-BE49-F238E27FC236}">
                <a16:creationId xmlns:a16="http://schemas.microsoft.com/office/drawing/2014/main" id="{20DD8E6A-F37D-4CEE-8B28-892B6221791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52888" y="2282358"/>
            <a:ext cx="4854932" cy="4854932"/>
          </a:xfrm>
          <a:prstGeom prst="ellipse">
            <a:avLst/>
          </a:prstGeom>
          <a:ln>
            <a:noFill/>
          </a:ln>
        </p:spPr>
      </p:pic>
      <p:sp>
        <p:nvSpPr>
          <p:cNvPr id="2" name="Slide Number Placeholder 1">
            <a:extLst>
              <a:ext uri="{FF2B5EF4-FFF2-40B4-BE49-F238E27FC236}">
                <a16:creationId xmlns:a16="http://schemas.microsoft.com/office/drawing/2014/main" id="{742410F2-3C9D-C865-0D0D-8B76934BA5D2}"/>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8579151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BJECTIVES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D2294D-DE6D-4282-AF4F-F8416F106F81}"/>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5" name="Oval 4">
            <a:extLst>
              <a:ext uri="{FF2B5EF4-FFF2-40B4-BE49-F238E27FC236}">
                <a16:creationId xmlns:a16="http://schemas.microsoft.com/office/drawing/2014/main" id="{11CD8C8C-63CF-4943-89D3-B5BCA0F16C98}"/>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ircle: Hollow 5">
            <a:extLst>
              <a:ext uri="{FF2B5EF4-FFF2-40B4-BE49-F238E27FC236}">
                <a16:creationId xmlns:a16="http://schemas.microsoft.com/office/drawing/2014/main" id="{77FBCCC6-2047-406D-B33D-317698474BB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7" name="Circle: Hollow 6">
            <a:extLst>
              <a:ext uri="{FF2B5EF4-FFF2-40B4-BE49-F238E27FC236}">
                <a16:creationId xmlns:a16="http://schemas.microsoft.com/office/drawing/2014/main" id="{12D982B6-0289-439C-A43F-7FF6B3744AD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 name="Picture Placeholder 2">
            <a:extLst>
              <a:ext uri="{FF2B5EF4-FFF2-40B4-BE49-F238E27FC236}">
                <a16:creationId xmlns:a16="http://schemas.microsoft.com/office/drawing/2014/main" id="{FEB8FEBE-B61F-4667-AB15-3E01E9EFF369}"/>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dirty="0"/>
          </a:p>
        </p:txBody>
      </p:sp>
      <p:sp>
        <p:nvSpPr>
          <p:cNvPr id="16" name="Text Placeholder 5">
            <a:extLst>
              <a:ext uri="{FF2B5EF4-FFF2-40B4-BE49-F238E27FC236}">
                <a16:creationId xmlns:a16="http://schemas.microsoft.com/office/drawing/2014/main" id="{543B43F8-9408-4DE6-ADB1-0F55458A9A22}"/>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1</a:t>
            </a:r>
          </a:p>
        </p:txBody>
      </p:sp>
      <p:sp>
        <p:nvSpPr>
          <p:cNvPr id="17" name="Text Placeholder 5">
            <a:extLst>
              <a:ext uri="{FF2B5EF4-FFF2-40B4-BE49-F238E27FC236}">
                <a16:creationId xmlns:a16="http://schemas.microsoft.com/office/drawing/2014/main" id="{94772D6F-1FC4-4476-A44A-08C36474BFAC}"/>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2</a:t>
            </a:r>
          </a:p>
        </p:txBody>
      </p:sp>
      <p:sp>
        <p:nvSpPr>
          <p:cNvPr id="18" name="Text Placeholder 5">
            <a:extLst>
              <a:ext uri="{FF2B5EF4-FFF2-40B4-BE49-F238E27FC236}">
                <a16:creationId xmlns:a16="http://schemas.microsoft.com/office/drawing/2014/main" id="{512809E2-9DA5-447E-955E-34FB70D95FD4}"/>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3</a:t>
            </a:r>
          </a:p>
        </p:txBody>
      </p:sp>
      <p:sp>
        <p:nvSpPr>
          <p:cNvPr id="19" name="Text Placeholder 5">
            <a:extLst>
              <a:ext uri="{FF2B5EF4-FFF2-40B4-BE49-F238E27FC236}">
                <a16:creationId xmlns:a16="http://schemas.microsoft.com/office/drawing/2014/main" id="{B7A3AD81-254E-4701-8E10-052F58E25B96}"/>
              </a:ext>
            </a:extLst>
          </p:cNvPr>
          <p:cNvSpPr>
            <a:spLocks noGrp="1"/>
          </p:cNvSpPr>
          <p:nvPr>
            <p:ph type="body" sz="quarter" idx="14" hasCustomPrompt="1"/>
          </p:nvPr>
        </p:nvSpPr>
        <p:spPr>
          <a:xfrm>
            <a:off x="512169" y="4876200"/>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4</a:t>
            </a:r>
          </a:p>
        </p:txBody>
      </p:sp>
      <p:sp>
        <p:nvSpPr>
          <p:cNvPr id="21" name="TextBox 20">
            <a:extLst>
              <a:ext uri="{FF2B5EF4-FFF2-40B4-BE49-F238E27FC236}">
                <a16:creationId xmlns:a16="http://schemas.microsoft.com/office/drawing/2014/main" id="{90FA61AE-BB1F-440B-B9B9-EEF289294A6B}"/>
              </a:ext>
            </a:extLst>
          </p:cNvPr>
          <p:cNvSpPr txBox="1"/>
          <p:nvPr userDrawn="1"/>
        </p:nvSpPr>
        <p:spPr>
          <a:xfrm>
            <a:off x="512169" y="1425240"/>
            <a:ext cx="7369325" cy="523220"/>
          </a:xfrm>
          <a:prstGeom prst="rect">
            <a:avLst/>
          </a:prstGeom>
          <a:noFill/>
        </p:spPr>
        <p:txBody>
          <a:bodyPr wrap="none" rtlCol="0">
            <a:spAutoFit/>
          </a:bodyPr>
          <a:lstStyle/>
          <a:p>
            <a:r>
              <a:rPr lang="nl-NL" sz="2800" b="1" dirty="0">
                <a:latin typeface="Ink Free" panose="03080402000500000000" pitchFamily="66" charset="0"/>
              </a:rPr>
              <a:t>By the end of this workshop you will be able to:</a:t>
            </a:r>
          </a:p>
        </p:txBody>
      </p:sp>
      <p:sp>
        <p:nvSpPr>
          <p:cNvPr id="22" name="TextBox 21">
            <a:extLst>
              <a:ext uri="{FF2B5EF4-FFF2-40B4-BE49-F238E27FC236}">
                <a16:creationId xmlns:a16="http://schemas.microsoft.com/office/drawing/2014/main" id="{F50D9795-89E4-442A-AB07-DB9973DB0C26}"/>
              </a:ext>
            </a:extLst>
          </p:cNvPr>
          <p:cNvSpPr txBox="1"/>
          <p:nvPr userDrawn="1"/>
        </p:nvSpPr>
        <p:spPr>
          <a:xfrm>
            <a:off x="179783" y="192389"/>
            <a:ext cx="4556055"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CFB55FD3-753C-C775-B2AA-B91C303E2F25}"/>
              </a:ext>
            </a:extLst>
          </p:cNvPr>
          <p:cNvSpPr>
            <a:spLocks noGrp="1"/>
          </p:cNvSpPr>
          <p:nvPr>
            <p:ph type="sldNum" sz="quarter" idx="15"/>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465423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CTIVITY 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0">
            <a:extLst>
              <a:ext uri="{FF2B5EF4-FFF2-40B4-BE49-F238E27FC236}">
                <a16:creationId xmlns:a16="http://schemas.microsoft.com/office/drawing/2014/main" id="{A9F941BB-AD7F-4F8D-8489-E645C72B01D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74706" y="2323047"/>
            <a:ext cx="4854932" cy="4854932"/>
          </a:xfrm>
          <a:prstGeom prst="ellipse">
            <a:avLst/>
          </a:prstGeom>
        </p:spPr>
      </p:pic>
      <p:sp>
        <p:nvSpPr>
          <p:cNvPr id="2" name="Slide Number Placeholder 1">
            <a:extLst>
              <a:ext uri="{FF2B5EF4-FFF2-40B4-BE49-F238E27FC236}">
                <a16:creationId xmlns:a16="http://schemas.microsoft.com/office/drawing/2014/main" id="{A26ED796-DCCE-C0F7-2251-531D2B422434}"/>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56878135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CTIVITY TRANSI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dirty="0"/>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958717" y="2098999"/>
            <a:ext cx="5397554" cy="53455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Circle: Hollow 33">
            <a:extLst>
              <a:ext uri="{FF2B5EF4-FFF2-40B4-BE49-F238E27FC236}">
                <a16:creationId xmlns:a16="http://schemas.microsoft.com/office/drawing/2014/main" id="{43395294-4557-46A9-9919-F13E15CDE4E9}"/>
              </a:ext>
            </a:extLst>
          </p:cNvPr>
          <p:cNvSpPr>
            <a:spLocks noChangeAspect="1"/>
          </p:cNvSpPr>
          <p:nvPr userDrawn="1"/>
        </p:nvSpPr>
        <p:spPr>
          <a:xfrm>
            <a:off x="-1070210" y="1922002"/>
            <a:ext cx="5695879" cy="5640956"/>
          </a:xfrm>
          <a:prstGeom prst="donut">
            <a:avLst>
              <a:gd name="adj" fmla="val 1425"/>
            </a:avLst>
          </a:prstGeom>
          <a:solidFill>
            <a:schemeClr val="tx1">
              <a:lumMod val="50000"/>
              <a:lumOff val="5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5" name="Circle: Hollow 34">
            <a:extLst>
              <a:ext uri="{FF2B5EF4-FFF2-40B4-BE49-F238E27FC236}">
                <a16:creationId xmlns:a16="http://schemas.microsoft.com/office/drawing/2014/main" id="{4CC85DBD-7E11-4644-8662-540317DD574A}"/>
              </a:ext>
            </a:extLst>
          </p:cNvPr>
          <p:cNvSpPr>
            <a:spLocks noChangeAspect="1"/>
          </p:cNvSpPr>
          <p:nvPr userDrawn="1"/>
        </p:nvSpPr>
        <p:spPr>
          <a:xfrm>
            <a:off x="-949658" y="2094455"/>
            <a:ext cx="5401195" cy="5349114"/>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30" name="Oval 29">
            <a:extLst>
              <a:ext uri="{FF2B5EF4-FFF2-40B4-BE49-F238E27FC236}">
                <a16:creationId xmlns:a16="http://schemas.microsoft.com/office/drawing/2014/main" id="{2140EA6C-A7FA-4766-B89B-40730972C3CB}"/>
              </a:ext>
            </a:extLst>
          </p:cNvPr>
          <p:cNvSpPr>
            <a:spLocks noChangeAspect="1"/>
          </p:cNvSpPr>
          <p:nvPr userDrawn="1"/>
        </p:nvSpPr>
        <p:spPr>
          <a:xfrm>
            <a:off x="9524786" y="-493399"/>
            <a:ext cx="3243883" cy="32126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Circle: Hollow 30">
            <a:extLst>
              <a:ext uri="{FF2B5EF4-FFF2-40B4-BE49-F238E27FC236}">
                <a16:creationId xmlns:a16="http://schemas.microsoft.com/office/drawing/2014/main" id="{D6BBE2D3-617E-4598-874E-DAAFE6A89CC5}"/>
              </a:ext>
            </a:extLst>
          </p:cNvPr>
          <p:cNvSpPr>
            <a:spLocks noChangeAspect="1"/>
          </p:cNvSpPr>
          <p:nvPr userDrawn="1"/>
        </p:nvSpPr>
        <p:spPr>
          <a:xfrm>
            <a:off x="9412977" y="-609346"/>
            <a:ext cx="3471870" cy="3438392"/>
          </a:xfrm>
          <a:prstGeom prst="donut">
            <a:avLst>
              <a:gd name="adj" fmla="val 1425"/>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2" name="Circle: Hollow 31">
            <a:extLst>
              <a:ext uri="{FF2B5EF4-FFF2-40B4-BE49-F238E27FC236}">
                <a16:creationId xmlns:a16="http://schemas.microsoft.com/office/drawing/2014/main" id="{4F18B7CA-1521-4797-901A-711FD6AE2821}"/>
              </a:ext>
            </a:extLst>
          </p:cNvPr>
          <p:cNvSpPr>
            <a:spLocks noChangeAspect="1"/>
          </p:cNvSpPr>
          <p:nvPr userDrawn="1"/>
        </p:nvSpPr>
        <p:spPr>
          <a:xfrm>
            <a:off x="9530300" y="-493399"/>
            <a:ext cx="3238369" cy="3207143"/>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Picture Placeholder 2">
            <a:extLst>
              <a:ext uri="{FF2B5EF4-FFF2-40B4-BE49-F238E27FC236}">
                <a16:creationId xmlns:a16="http://schemas.microsoft.com/office/drawing/2014/main" id="{8C66B2F9-7F2F-4B0F-BCB5-0D476F9C4036}"/>
              </a:ext>
            </a:extLst>
          </p:cNvPr>
          <p:cNvSpPr>
            <a:spLocks noGrp="1" noChangeAspect="1"/>
          </p:cNvSpPr>
          <p:nvPr>
            <p:ph type="pic" sz="quarter" idx="13"/>
          </p:nvPr>
        </p:nvSpPr>
        <p:spPr>
          <a:xfrm>
            <a:off x="-674706" y="2323047"/>
            <a:ext cx="4854932" cy="4854932"/>
          </a:xfrm>
          <a:prstGeom prst="ellipse">
            <a:avLst/>
          </a:prstGeom>
          <a:ln>
            <a:noFill/>
          </a:ln>
        </p:spPr>
        <p:txBody>
          <a:bodyPr/>
          <a:lstStyle/>
          <a:p>
            <a:endParaRPr lang="nl-NL" dirty="0"/>
          </a:p>
        </p:txBody>
      </p:sp>
      <p:sp>
        <p:nvSpPr>
          <p:cNvPr id="36" name="TextBox 35">
            <a:extLst>
              <a:ext uri="{FF2B5EF4-FFF2-40B4-BE49-F238E27FC236}">
                <a16:creationId xmlns:a16="http://schemas.microsoft.com/office/drawing/2014/main" id="{108636AC-E3F3-4206-B3DF-B6B91A39477B}"/>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dirty="0">
                <a:solidFill>
                  <a:schemeClr val="tx1">
                    <a:lumMod val="50000"/>
                    <a:lumOff val="50000"/>
                  </a:schemeClr>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 name="Slide Number Placeholder 1">
            <a:extLst>
              <a:ext uri="{FF2B5EF4-FFF2-40B4-BE49-F238E27FC236}">
                <a16:creationId xmlns:a16="http://schemas.microsoft.com/office/drawing/2014/main" id="{BD0F6DD4-A095-F915-B2F3-F56A6F8F326A}"/>
              </a:ext>
            </a:extLst>
          </p:cNvPr>
          <p:cNvSpPr>
            <a:spLocks noGrp="1"/>
          </p:cNvSpPr>
          <p:nvPr>
            <p:ph type="sldNum" sz="quarter" idx="14"/>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52651386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CTIVITY DESCRIPTION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10" y="1601040"/>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description</a:t>
            </a:r>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28" name="Picture 4">
            <a:extLst>
              <a:ext uri="{FF2B5EF4-FFF2-40B4-BE49-F238E27FC236}">
                <a16:creationId xmlns:a16="http://schemas.microsoft.com/office/drawing/2014/main" id="{4FB6D550-E9CE-4FA3-8A58-428B76CA8F5D}"/>
              </a:ext>
            </a:extLst>
          </p:cNvPr>
          <p:cNvPicPr>
            <a:picLocks noChangeAspect="1" noChangeArrowheads="1"/>
          </p:cNvPicPr>
          <p:nvPr userDrawn="1"/>
        </p:nvPicPr>
        <p:blipFill>
          <a:blip r:embed="rId6" cstate="email">
            <a:grayscl/>
            <a:alphaModFix amt="70000"/>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8632648" y="-363857"/>
            <a:ext cx="3950312" cy="3932557"/>
          </a:xfrm>
          <a:prstGeom prst="ellipse">
            <a:avLst/>
          </a:prstGeom>
          <a:ln w="190500" cap="rnd">
            <a:noFill/>
            <a:prstDash val="solid"/>
          </a:ln>
          <a:effectLst/>
          <a:scene3d>
            <a:camera prst="orthographicFront"/>
            <a:lightRig rig="threePt" dir="t">
              <a:rot lat="0" lon="0" rev="19200000"/>
            </a:lightRig>
          </a:scene3d>
          <a:sp3d extrusionH="25400">
            <a:extrusionClr>
              <a:srgbClr val="000000"/>
            </a:extrusionClr>
          </a:sp3d>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A1655C40-6E8E-775C-214C-706510AD70D5}"/>
              </a:ext>
            </a:extLst>
          </p:cNvPr>
          <p:cNvSpPr>
            <a:spLocks noGrp="1"/>
          </p:cNvSpPr>
          <p:nvPr>
            <p:ph type="sldNum" sz="quarter" idx="13"/>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94339667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CTIVITY DESCRIP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09" y="162903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t>
            </a:r>
            <a:r>
              <a:rPr lang="en-US"/>
              <a:t>activity timing</a:t>
            </a:r>
            <a:endParaRPr lang="en-US" dirty="0"/>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description</a:t>
            </a:r>
          </a:p>
        </p:txBody>
      </p:sp>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21" name="Picture Placeholder 2">
            <a:extLst>
              <a:ext uri="{FF2B5EF4-FFF2-40B4-BE49-F238E27FC236}">
                <a16:creationId xmlns:a16="http://schemas.microsoft.com/office/drawing/2014/main" id="{E986AB6F-E24C-434A-A8D2-81FF08CF8E07}"/>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dirty="0"/>
          </a:p>
        </p:txBody>
      </p:sp>
      <p:sp>
        <p:nvSpPr>
          <p:cNvPr id="2" name="Slide Number Placeholder 1">
            <a:extLst>
              <a:ext uri="{FF2B5EF4-FFF2-40B4-BE49-F238E27FC236}">
                <a16:creationId xmlns:a16="http://schemas.microsoft.com/office/drawing/2014/main" id="{D96BED2A-979B-279E-D81A-E080DAAE1C2F}"/>
              </a:ext>
            </a:extLst>
          </p:cNvPr>
          <p:cNvSpPr>
            <a:spLocks noGrp="1"/>
          </p:cNvSpPr>
          <p:nvPr>
            <p:ph type="sldNum" sz="quarter" idx="14"/>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07052221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2" name="Slide Number Placeholder 1">
            <a:extLst>
              <a:ext uri="{FF2B5EF4-FFF2-40B4-BE49-F238E27FC236}">
                <a16:creationId xmlns:a16="http://schemas.microsoft.com/office/drawing/2014/main" id="{47FAAA2D-6404-1699-A022-31A0823E5E20}"/>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3741777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NOTES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3" name="Straight Connector 2">
            <a:extLst>
              <a:ext uri="{FF2B5EF4-FFF2-40B4-BE49-F238E27FC236}">
                <a16:creationId xmlns:a16="http://schemas.microsoft.com/office/drawing/2014/main" id="{E7F00E61-CB13-4FDB-92C8-09428B2A2912}"/>
              </a:ext>
            </a:extLst>
          </p:cNvPr>
          <p:cNvCxnSpPr/>
          <p:nvPr userDrawn="1"/>
        </p:nvCxnSpPr>
        <p:spPr>
          <a:xfrm>
            <a:off x="635000" y="19939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EF346B0-A95C-48B9-A290-06C06790D29C}"/>
              </a:ext>
            </a:extLst>
          </p:cNvPr>
          <p:cNvCxnSpPr/>
          <p:nvPr userDrawn="1"/>
        </p:nvCxnSpPr>
        <p:spPr>
          <a:xfrm>
            <a:off x="635000" y="23876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1D5D22-03F2-4603-9A4B-31ADD75146BA}"/>
              </a:ext>
            </a:extLst>
          </p:cNvPr>
          <p:cNvCxnSpPr/>
          <p:nvPr userDrawn="1"/>
        </p:nvCxnSpPr>
        <p:spPr>
          <a:xfrm>
            <a:off x="635000" y="27813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932137-CE10-40E7-AF72-2AF6441D557E}"/>
              </a:ext>
            </a:extLst>
          </p:cNvPr>
          <p:cNvCxnSpPr/>
          <p:nvPr userDrawn="1"/>
        </p:nvCxnSpPr>
        <p:spPr>
          <a:xfrm>
            <a:off x="635000" y="3175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5D976C0-9010-495E-8687-22D2D2339066}"/>
              </a:ext>
            </a:extLst>
          </p:cNvPr>
          <p:cNvCxnSpPr/>
          <p:nvPr userDrawn="1"/>
        </p:nvCxnSpPr>
        <p:spPr>
          <a:xfrm>
            <a:off x="635000" y="3556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AA7FEA-704B-4CEB-AFF9-62776B1ED952}"/>
              </a:ext>
            </a:extLst>
          </p:cNvPr>
          <p:cNvCxnSpPr/>
          <p:nvPr userDrawn="1"/>
        </p:nvCxnSpPr>
        <p:spPr>
          <a:xfrm>
            <a:off x="635000" y="39497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459D435-0084-44F4-A9FF-36D7E11B4EA7}"/>
              </a:ext>
            </a:extLst>
          </p:cNvPr>
          <p:cNvCxnSpPr/>
          <p:nvPr userDrawn="1"/>
        </p:nvCxnSpPr>
        <p:spPr>
          <a:xfrm>
            <a:off x="635000" y="4343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8FB8BAA-BC4E-494C-B2D3-623655122E9E}"/>
              </a:ext>
            </a:extLst>
          </p:cNvPr>
          <p:cNvCxnSpPr/>
          <p:nvPr userDrawn="1"/>
        </p:nvCxnSpPr>
        <p:spPr>
          <a:xfrm>
            <a:off x="635000" y="4737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B726947-6207-4EF7-A480-EAC4AB48CB94}"/>
              </a:ext>
            </a:extLst>
          </p:cNvPr>
          <p:cNvCxnSpPr/>
          <p:nvPr userDrawn="1"/>
        </p:nvCxnSpPr>
        <p:spPr>
          <a:xfrm>
            <a:off x="635000" y="5105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850983E-0922-4848-8BBD-B4F450D15804}"/>
              </a:ext>
            </a:extLst>
          </p:cNvPr>
          <p:cNvCxnSpPr/>
          <p:nvPr userDrawn="1"/>
        </p:nvCxnSpPr>
        <p:spPr>
          <a:xfrm>
            <a:off x="635000" y="5499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A1BA1B-5D82-43C1-8101-C7F3DA63F151}"/>
              </a:ext>
            </a:extLst>
          </p:cNvPr>
          <p:cNvCxnSpPr/>
          <p:nvPr userDrawn="1"/>
        </p:nvCxnSpPr>
        <p:spPr>
          <a:xfrm>
            <a:off x="635000" y="58928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50664C4-7DEA-48F9-A56C-77C8E17A5A35}"/>
              </a:ext>
            </a:extLst>
          </p:cNvPr>
          <p:cNvCxnSpPr/>
          <p:nvPr userDrawn="1"/>
        </p:nvCxnSpPr>
        <p:spPr>
          <a:xfrm>
            <a:off x="635000" y="62865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2" name="Slide Number Placeholder 1">
            <a:extLst>
              <a:ext uri="{FF2B5EF4-FFF2-40B4-BE49-F238E27FC236}">
                <a16:creationId xmlns:a16="http://schemas.microsoft.com/office/drawing/2014/main" id="{7A53116B-0DCE-1C5F-C5E5-55EC2BF28036}"/>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3723249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NOTES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4" name="Text Placeholder 3">
            <a:extLst>
              <a:ext uri="{FF2B5EF4-FFF2-40B4-BE49-F238E27FC236}">
                <a16:creationId xmlns:a16="http://schemas.microsoft.com/office/drawing/2014/main" id="{4A7C25AF-998D-B81E-FC24-65220BF2AA43}"/>
              </a:ext>
            </a:extLst>
          </p:cNvPr>
          <p:cNvSpPr>
            <a:spLocks noGrp="1"/>
          </p:cNvSpPr>
          <p:nvPr>
            <p:ph type="body" sz="quarter" idx="10" hasCustomPrompt="1"/>
          </p:nvPr>
        </p:nvSpPr>
        <p:spPr>
          <a:xfrm>
            <a:off x="565309" y="1742074"/>
            <a:ext cx="9968553" cy="4615441"/>
          </a:xfrm>
          <a:prstGeom prst="rect">
            <a:avLst/>
          </a:prstGeom>
        </p:spPr>
        <p:txBody>
          <a:bodyPr/>
          <a:lstStyle>
            <a:lvl1pPr marL="0" indent="0">
              <a:buNone/>
              <a:defRPr sz="1600">
                <a:latin typeface="Ink Free" panose="03080402000500000000" pitchFamily="66" charset="0"/>
              </a:defRPr>
            </a:lvl1pPr>
          </a:lstStyle>
          <a:p>
            <a:pPr lvl="0"/>
            <a:r>
              <a:rPr lang="en-US" dirty="0"/>
              <a:t>Click here to type your notes</a:t>
            </a:r>
            <a:endParaRPr lang="nl-NL" dirty="0"/>
          </a:p>
        </p:txBody>
      </p:sp>
      <p:sp>
        <p:nvSpPr>
          <p:cNvPr id="2" name="Slide Number Placeholder 1">
            <a:extLst>
              <a:ext uri="{FF2B5EF4-FFF2-40B4-BE49-F238E27FC236}">
                <a16:creationId xmlns:a16="http://schemas.microsoft.com/office/drawing/2014/main" id="{193AF29C-77D2-4BDD-1BA5-79C6AF1BF0FA}"/>
              </a:ext>
            </a:extLst>
          </p:cNvPr>
          <p:cNvSpPr>
            <a:spLocks noGrp="1"/>
          </p:cNvSpPr>
          <p:nvPr>
            <p:ph type="sldNum" sz="quarter" idx="11"/>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98700688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ACTIVITY CONTENT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val="0"/>
              </a:ext>
            </a:extLst>
          </a:blip>
          <a:srcRect l="17198" t="7727"/>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10" y="1601040"/>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dirty="0"/>
              <a:t>Click to add activity description</a:t>
            </a:r>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6032" t="20124" r="25409" b="24245"/>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9396" t="19375" r="18082" b="22747"/>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28" name="Picture 4">
            <a:extLst>
              <a:ext uri="{FF2B5EF4-FFF2-40B4-BE49-F238E27FC236}">
                <a16:creationId xmlns:a16="http://schemas.microsoft.com/office/drawing/2014/main" id="{4FB6D550-E9CE-4FA3-8A58-428B76CA8F5D}"/>
              </a:ext>
            </a:extLst>
          </p:cNvPr>
          <p:cNvPicPr>
            <a:picLocks noChangeAspect="1" noChangeArrowheads="1"/>
          </p:cNvPicPr>
          <p:nvPr userDrawn="1"/>
        </p:nvPicPr>
        <p:blipFill>
          <a:blip r:embed="rId6">
            <a:grayscl/>
            <a:alphaModFix amt="70000"/>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8632648" y="-363857"/>
            <a:ext cx="3950312" cy="3932557"/>
          </a:xfrm>
          <a:prstGeom prst="ellipse">
            <a:avLst/>
          </a:prstGeom>
          <a:ln w="190500" cap="rnd">
            <a:noFill/>
            <a:prstDash val="solid"/>
          </a:ln>
          <a:effectLst/>
          <a:scene3d>
            <a:camera prst="orthographicFront"/>
            <a:lightRig rig="threePt" dir="t">
              <a:rot lat="0" lon="0" rev="19200000"/>
            </a:lightRig>
          </a:scene3d>
          <a:sp3d extrusionH="25400">
            <a:extrusionClr>
              <a:srgbClr val="000000"/>
            </a:extrusionClr>
          </a:sp3d>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0A0482F-0887-BFA4-D448-7EB9F55DA581}"/>
              </a:ext>
            </a:extLst>
          </p:cNvPr>
          <p:cNvSpPr>
            <a:spLocks noGrp="1"/>
          </p:cNvSpPr>
          <p:nvPr>
            <p:ph type="sldNum" sz="quarter" idx="13"/>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57042024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LANK P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2" name="Slide Number Placeholder 1">
            <a:extLst>
              <a:ext uri="{FF2B5EF4-FFF2-40B4-BE49-F238E27FC236}">
                <a16:creationId xmlns:a16="http://schemas.microsoft.com/office/drawing/2014/main" id="{693DAB3C-5F3A-65DD-8D58-9102BF2DAD0D}"/>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97259522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HANK YOU PAGE SA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1FD565F1-CE52-423C-837B-CE26808A5943}"/>
              </a:ext>
            </a:extLst>
          </p:cNvPr>
          <p:cNvPicPr>
            <a:picLocks noChangeAspect="1" noChangeArrowheads="1"/>
          </p:cNvPicPr>
          <p:nvPr userDrawn="1"/>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a:extLst>
              <a:ext uri="{FF2B5EF4-FFF2-40B4-BE49-F238E27FC236}">
                <a16:creationId xmlns:a16="http://schemas.microsoft.com/office/drawing/2014/main" id="{DAA12FF9-FC73-42F4-A8C0-06B425D68C24}"/>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val="0"/>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36FA3EF-D59F-A9B3-FE9A-2F49746482F9}"/>
              </a:ext>
            </a:extLst>
          </p:cNvPr>
          <p:cNvGrpSpPr/>
          <p:nvPr userDrawn="1"/>
        </p:nvGrpSpPr>
        <p:grpSpPr>
          <a:xfrm>
            <a:off x="180671" y="169320"/>
            <a:ext cx="5310809" cy="644967"/>
            <a:chOff x="0" y="0"/>
            <a:chExt cx="3793402" cy="559435"/>
          </a:xfrm>
        </p:grpSpPr>
        <p:sp>
          <p:nvSpPr>
            <p:cNvPr id="4" name="Rectangle 3">
              <a:extLst>
                <a:ext uri="{FF2B5EF4-FFF2-40B4-BE49-F238E27FC236}">
                  <a16:creationId xmlns:a16="http://schemas.microsoft.com/office/drawing/2014/main" id="{9602C121-3706-F8B2-3439-392F8FF9760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FBCE4127-0DAD-35F5-1190-782694A3D04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B72894A9-75BD-A7A5-0427-0994BA29E494}"/>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28EABA45-7CF7-B48D-AA30-CEB1915DB7A7}"/>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708845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JECTIVES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534435" cy="523220"/>
          </a:xfrm>
          <a:prstGeom prst="rect">
            <a:avLst/>
          </a:prstGeom>
          <a:noFill/>
        </p:spPr>
        <p:txBody>
          <a:bodyPr wrap="none" rtlCol="0">
            <a:spAutoFit/>
          </a:bodyPr>
          <a:lstStyle/>
          <a:p>
            <a:r>
              <a:rPr lang="nl-NL" sz="2800" b="1" dirty="0">
                <a:latin typeface="Ink Free" panose="03080402000500000000" pitchFamily="66" charset="0"/>
              </a:rPr>
              <a:t>By then end of this workshop you will be able to:</a:t>
            </a:r>
          </a:p>
        </p:txBody>
      </p:sp>
      <p:sp>
        <p:nvSpPr>
          <p:cNvPr id="2" name="Slide Number Placeholder 1">
            <a:extLst>
              <a:ext uri="{FF2B5EF4-FFF2-40B4-BE49-F238E27FC236}">
                <a16:creationId xmlns:a16="http://schemas.microsoft.com/office/drawing/2014/main" id="{06D8B8C4-5A07-05AB-EF70-0288123F7AFF}"/>
              </a:ext>
            </a:extLst>
          </p:cNvPr>
          <p:cNvSpPr>
            <a:spLocks noGrp="1"/>
          </p:cNvSpPr>
          <p:nvPr>
            <p:ph type="sldNum" sz="quarter" idx="14"/>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60758847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LF REFLECTION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grpSp>
        <p:nvGrpSpPr>
          <p:cNvPr id="73" name="Group 72">
            <a:extLst>
              <a:ext uri="{FF2B5EF4-FFF2-40B4-BE49-F238E27FC236}">
                <a16:creationId xmlns:a16="http://schemas.microsoft.com/office/drawing/2014/main" id="{E4777B42-32A3-4712-8778-BC1FBB94A9A4}"/>
              </a:ext>
            </a:extLst>
          </p:cNvPr>
          <p:cNvGrpSpPr/>
          <p:nvPr userDrawn="1"/>
        </p:nvGrpSpPr>
        <p:grpSpPr>
          <a:xfrm>
            <a:off x="328402" y="1626178"/>
            <a:ext cx="3684798" cy="4914531"/>
            <a:chOff x="391902" y="1626178"/>
            <a:chExt cx="3684798" cy="4914531"/>
          </a:xfrm>
        </p:grpSpPr>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44" name="Straight Connector 43">
              <a:extLst>
                <a:ext uri="{FF2B5EF4-FFF2-40B4-BE49-F238E27FC236}">
                  <a16:creationId xmlns:a16="http://schemas.microsoft.com/office/drawing/2014/main" id="{3FD2213E-8523-42D2-8A46-34DF2FE69AEE}"/>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EA5F2B6-D2DA-477F-A7BB-C5F24C00ED62}"/>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06BB17-9F17-4D34-9AE9-A57C30122A74}"/>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D38048B-4C19-4DEB-AB7A-507707188C0A}"/>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E75C617-67A6-4165-BE30-B8277F4D8427}"/>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8B7A866-C123-425A-8015-130AB6D8003B}"/>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B223D01-9167-482A-AB67-82CA2B4EAA2D}"/>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1123CBF-88DA-406B-8D3D-78251EE82CC3}"/>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879ED9-8608-4F51-B564-A6BCB01EE0A8}"/>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00EBBB3-58C6-4497-95B8-94050387DEE3}"/>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DA6CEE-66D2-4A78-8B72-EB96849FD216}"/>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B73F90-12F4-46FD-BA1E-CBA4A1AA02FE}"/>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D034444-C5D7-4C42-B856-DAA9DE48B9CC}"/>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55C2D1C-12D0-48EA-AD95-8963A2AD9590}"/>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1199480-8A3D-4134-8205-81D8882D465A}"/>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68102" y="1739039"/>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What did you learn from this session? How was it useful?</a:t>
              </a:r>
            </a:p>
          </p:txBody>
        </p:sp>
      </p:gr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4" name="Group 73">
            <a:extLst>
              <a:ext uri="{FF2B5EF4-FFF2-40B4-BE49-F238E27FC236}">
                <a16:creationId xmlns:a16="http://schemas.microsoft.com/office/drawing/2014/main" id="{A1E1A978-B4C1-419A-9F1C-98542ED88BA1}"/>
              </a:ext>
            </a:extLst>
          </p:cNvPr>
          <p:cNvGrpSpPr/>
          <p:nvPr userDrawn="1"/>
        </p:nvGrpSpPr>
        <p:grpSpPr>
          <a:xfrm>
            <a:off x="4284068" y="1626177"/>
            <a:ext cx="3684798" cy="4914531"/>
            <a:chOff x="391902" y="1626178"/>
            <a:chExt cx="3684798" cy="4914531"/>
          </a:xfrm>
        </p:grpSpPr>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76" name="Straight Connector 75">
              <a:extLst>
                <a:ext uri="{FF2B5EF4-FFF2-40B4-BE49-F238E27FC236}">
                  <a16:creationId xmlns:a16="http://schemas.microsoft.com/office/drawing/2014/main" id="{C1069C92-64D5-4E19-95D4-61581EDF0B15}"/>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1E749D5-CEB3-4DE6-AB18-727DB76EBB2B}"/>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89807CE-341D-40A4-80CC-E23E76568B3E}"/>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E075A6A-A3EB-4E48-BCA1-97D67D92B277}"/>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00C4848-7901-4792-82B5-62434A3421AA}"/>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8121E0-3EC1-46F4-8833-233B454079BA}"/>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F16D176-B3CF-4C12-BE01-F7BEA3EAA513}"/>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D8D89E5-6ACE-4446-9D7B-F4ED0BDD88C4}"/>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F816A47-D34D-480F-ABD5-08B5B12719CA}"/>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650C147-CA50-4E93-81CD-E1340DD5CEA9}"/>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5B4673-3480-41B7-9E17-D4E973A58E28}"/>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3E357EE-12D2-4878-A574-F4E063B6E774}"/>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DFE2E28-7C73-4FBE-9215-6E8D64C56C62}"/>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BABEAED-EB10-4094-89AC-29EA7248FAD4}"/>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9BD8221-452E-46B3-BDF3-3441019DBFF2}"/>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68102" y="1739039"/>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How do you plan to put in practice whay you learned?</a:t>
              </a:r>
            </a:p>
          </p:txBody>
        </p:sp>
      </p:gr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2" name="Group 91">
            <a:extLst>
              <a:ext uri="{FF2B5EF4-FFF2-40B4-BE49-F238E27FC236}">
                <a16:creationId xmlns:a16="http://schemas.microsoft.com/office/drawing/2014/main" id="{8257BD7D-96C3-470C-8BBA-18F14DC4CDCE}"/>
              </a:ext>
            </a:extLst>
          </p:cNvPr>
          <p:cNvGrpSpPr/>
          <p:nvPr userDrawn="1"/>
        </p:nvGrpSpPr>
        <p:grpSpPr>
          <a:xfrm>
            <a:off x="8197624" y="1636464"/>
            <a:ext cx="3684798" cy="4914531"/>
            <a:chOff x="391902" y="1626178"/>
            <a:chExt cx="3684798" cy="4914531"/>
          </a:xfrm>
        </p:grpSpPr>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94" name="Straight Connector 93">
              <a:extLst>
                <a:ext uri="{FF2B5EF4-FFF2-40B4-BE49-F238E27FC236}">
                  <a16:creationId xmlns:a16="http://schemas.microsoft.com/office/drawing/2014/main" id="{19181C3A-4B1E-4F0C-9C89-FCEF56D5234F}"/>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394C08C-C088-41B0-967F-05736211CAA5}"/>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4D1A2AA-2BA7-4C16-A821-2991DC92020B}"/>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27E3DAA-5E4D-4F48-990E-4006CCF46321}"/>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0106E8-6FFB-48F2-901D-63AB56838A95}"/>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7E58FEF-EB3C-4EE0-96CC-63663E26DCA2}"/>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D5D51AA-9A1D-4296-AD3E-02B435DD2D36}"/>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28748E1-E4D7-42EB-9F92-FDD3B01516C7}"/>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F2D685A-7EA4-47F4-A90F-D8E013517E5B}"/>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6D3BE50-E595-4D8F-B054-9B5651C6CF2E}"/>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92DDDFE-432C-46EE-8E90-FC12B83D3DDA}"/>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49B70D6-F247-46B4-B4AB-04C1E9C31D45}"/>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50169AD-E2DF-4EC9-A40F-9A6095CBC78A}"/>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D672CA9-2146-484E-8C91-4C0E672B53FD}"/>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C0DEBBC-1796-4814-9F26-ABB5BD2827CC}"/>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468102" y="1739039"/>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How do you think this learning will be useful for you in the future?</a:t>
              </a:r>
            </a:p>
          </p:txBody>
        </p:sp>
      </p:gr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21F895C6-F625-2FDA-FCFB-E78863732EDD}"/>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57052463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LF REFLECTION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284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04602" y="1739039"/>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What did you learn from this session? How was it useful?</a:t>
            </a:r>
          </a:p>
        </p:txBody>
      </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4284068" y="1626177"/>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360268" y="1739038"/>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How do you plan to put in practice whay you learned?</a:t>
            </a:r>
          </a:p>
        </p:txBody>
      </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8197624" y="1636464"/>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8273824" y="1749325"/>
            <a:ext cx="3502769" cy="584775"/>
          </a:xfrm>
          <a:prstGeom prst="rect">
            <a:avLst/>
          </a:prstGeom>
          <a:noFill/>
        </p:spPr>
        <p:txBody>
          <a:bodyPr wrap="square" rtlCol="0">
            <a:spAutoFit/>
          </a:bodyPr>
          <a:lstStyle/>
          <a:p>
            <a:r>
              <a:rPr lang="nl-NL" sz="1600" b="1" dirty="0">
                <a:solidFill>
                  <a:schemeClr val="accent4">
                    <a:lumMod val="75000"/>
                  </a:schemeClr>
                </a:solidFill>
                <a:latin typeface="Ink Free" panose="03080402000500000000" pitchFamily="66" charset="0"/>
              </a:rPr>
              <a:t>How do you think this learning will be useful for you in the future?</a:t>
            </a:r>
          </a:p>
        </p:txBody>
      </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 name="Text Placeholder 3">
            <a:extLst>
              <a:ext uri="{FF2B5EF4-FFF2-40B4-BE49-F238E27FC236}">
                <a16:creationId xmlns:a16="http://schemas.microsoft.com/office/drawing/2014/main" id="{2E2DA8AA-3985-4E68-4882-9C6A90508514}"/>
              </a:ext>
            </a:extLst>
          </p:cNvPr>
          <p:cNvSpPr>
            <a:spLocks noGrp="1"/>
          </p:cNvSpPr>
          <p:nvPr>
            <p:ph type="body" sz="quarter" idx="10" hasCustomPrompt="1"/>
          </p:nvPr>
        </p:nvSpPr>
        <p:spPr>
          <a:xfrm>
            <a:off x="421509" y="3128760"/>
            <a:ext cx="3450407" cy="3307423"/>
          </a:xfrm>
          <a:prstGeom prst="rect">
            <a:avLst/>
          </a:prstGeom>
        </p:spPr>
        <p:txBody>
          <a:bodyPr/>
          <a:lstStyle>
            <a:lvl1pPr marL="0" indent="0">
              <a:buNone/>
              <a:defRPr sz="1600">
                <a:latin typeface="Ink Free" panose="03080402000500000000" pitchFamily="66" charset="0"/>
              </a:defRPr>
            </a:lvl1pPr>
          </a:lstStyle>
          <a:p>
            <a:pPr lvl="0"/>
            <a:r>
              <a:rPr lang="en-US" dirty="0"/>
              <a:t>Click here to type your notes</a:t>
            </a:r>
            <a:endParaRPr lang="nl-NL" dirty="0"/>
          </a:p>
        </p:txBody>
      </p:sp>
      <p:sp>
        <p:nvSpPr>
          <p:cNvPr id="4" name="Text Placeholder 3">
            <a:extLst>
              <a:ext uri="{FF2B5EF4-FFF2-40B4-BE49-F238E27FC236}">
                <a16:creationId xmlns:a16="http://schemas.microsoft.com/office/drawing/2014/main" id="{C527A8E5-D36B-17AB-62D4-6397E78778F7}"/>
              </a:ext>
            </a:extLst>
          </p:cNvPr>
          <p:cNvSpPr>
            <a:spLocks noGrp="1"/>
          </p:cNvSpPr>
          <p:nvPr>
            <p:ph type="body" sz="quarter" idx="11" hasCustomPrompt="1"/>
          </p:nvPr>
        </p:nvSpPr>
        <p:spPr>
          <a:xfrm>
            <a:off x="8273824" y="2323813"/>
            <a:ext cx="3451106" cy="3421057"/>
          </a:xfrm>
          <a:prstGeom prst="rect">
            <a:avLst/>
          </a:prstGeom>
        </p:spPr>
        <p:txBody>
          <a:bodyPr/>
          <a:lstStyle>
            <a:lvl1pPr marL="0" indent="0">
              <a:buNone/>
              <a:defRPr sz="1600">
                <a:latin typeface="Ink Free" panose="03080402000500000000" pitchFamily="66" charset="0"/>
              </a:defRPr>
            </a:lvl1pPr>
          </a:lstStyle>
          <a:p>
            <a:pPr lvl="0"/>
            <a:r>
              <a:rPr lang="en-US" dirty="0"/>
              <a:t>Click here to type your notes</a:t>
            </a:r>
            <a:endParaRPr lang="nl-NL" dirty="0"/>
          </a:p>
        </p:txBody>
      </p:sp>
      <p:sp>
        <p:nvSpPr>
          <p:cNvPr id="5" name="Text Placeholder 3">
            <a:extLst>
              <a:ext uri="{FF2B5EF4-FFF2-40B4-BE49-F238E27FC236}">
                <a16:creationId xmlns:a16="http://schemas.microsoft.com/office/drawing/2014/main" id="{4A18E320-A776-5EA0-E4AB-4EAE7EF7F5D6}"/>
              </a:ext>
            </a:extLst>
          </p:cNvPr>
          <p:cNvSpPr>
            <a:spLocks noGrp="1"/>
          </p:cNvSpPr>
          <p:nvPr>
            <p:ph type="body" sz="quarter" idx="12" hasCustomPrompt="1"/>
          </p:nvPr>
        </p:nvSpPr>
        <p:spPr>
          <a:xfrm>
            <a:off x="4377822" y="2310955"/>
            <a:ext cx="3480564" cy="4125228"/>
          </a:xfrm>
          <a:prstGeom prst="rect">
            <a:avLst/>
          </a:prstGeom>
        </p:spPr>
        <p:txBody>
          <a:bodyPr/>
          <a:lstStyle>
            <a:lvl1pPr marL="0" indent="0">
              <a:buNone/>
              <a:defRPr sz="1600">
                <a:latin typeface="Ink Free" panose="03080402000500000000" pitchFamily="66" charset="0"/>
              </a:defRPr>
            </a:lvl1pPr>
          </a:lstStyle>
          <a:p>
            <a:pPr lvl="0"/>
            <a:r>
              <a:rPr lang="en-US" dirty="0"/>
              <a:t>Click here to type your notes</a:t>
            </a:r>
            <a:endParaRPr lang="nl-NL" dirty="0"/>
          </a:p>
        </p:txBody>
      </p:sp>
      <p:sp>
        <p:nvSpPr>
          <p:cNvPr id="2" name="Slide Number Placeholder 1">
            <a:extLst>
              <a:ext uri="{FF2B5EF4-FFF2-40B4-BE49-F238E27FC236}">
                <a16:creationId xmlns:a16="http://schemas.microsoft.com/office/drawing/2014/main" id="{4FE98FED-2912-D6D5-B955-3E54DEF8F1F9}"/>
              </a:ext>
            </a:extLst>
          </p:cNvPr>
          <p:cNvSpPr>
            <a:spLocks noGrp="1"/>
          </p:cNvSpPr>
          <p:nvPr>
            <p:ph type="sldNum" sz="quarter" idx="13"/>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47519937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ANK YOU 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11" name="Picture 6">
            <a:extLst>
              <a:ext uri="{FF2B5EF4-FFF2-40B4-BE49-F238E27FC236}">
                <a16:creationId xmlns:a16="http://schemas.microsoft.com/office/drawing/2014/main" id="{35B8C781-36CE-4DB0-85EE-7F1A5BE1602C}"/>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7CA32A7-65CC-446F-90F1-D5810D05E72C}"/>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9" name="Group 8">
            <a:extLst>
              <a:ext uri="{FF2B5EF4-FFF2-40B4-BE49-F238E27FC236}">
                <a16:creationId xmlns:a16="http://schemas.microsoft.com/office/drawing/2014/main" id="{3100EEB8-1F3F-425B-B2F9-94EF253497DA}"/>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672DBACD-3B29-48FA-BB57-3FF5E11F436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42F7FF86-A528-48C8-BC4F-B0280FC875B2}"/>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0C2E630D-7A77-4391-B763-5D99596A8C98}"/>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4423A166-77F7-4255-A461-D201E6B7B58C}"/>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F8636B5B-FD40-416C-9A18-B98DE23DDF24}"/>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92253AD-A08C-41C2-9746-338111993FA3}"/>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92EDAC14-0032-42B6-9F9E-2D85DB6FD7EB}"/>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20755191-1DA0-4CF8-8448-69DFB6F1FBCF}"/>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766018A7-08D0-4D97-BCBA-4C0972B5B70A}"/>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6" name="Circle: Hollow 25">
              <a:extLst>
                <a:ext uri="{FF2B5EF4-FFF2-40B4-BE49-F238E27FC236}">
                  <a16:creationId xmlns:a16="http://schemas.microsoft.com/office/drawing/2014/main" id="{83084BA5-1453-4D45-A000-E26D51CE3CC2}"/>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1CE56E73-296E-4DBE-AD69-4B90D1CCC282}"/>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01B19C2-782C-4EF5-84D9-103CC7278F41}"/>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927EE673-D7AF-4F70-906F-A89A0EDC5AB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CB7E533D-FED4-4225-8963-76EA05B3AA9F}"/>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94D2EAF9-A3FD-4FEB-AD3F-4AB612C3C374}"/>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36D907B9-39BB-48B0-ADA1-4C55F461715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B1E9B4-C5BC-4D6F-ACF5-55AA3484C9D7}"/>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84F129F0-D9F9-4423-A68E-2F371CC3EB12}"/>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8106732A-72C0-48C5-885E-C6E033A32287}"/>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FEA4A954-AF44-4848-A34A-5FAB301571B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D7FC9AF0-3EB1-4D9F-9E4C-443485F5D156}"/>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E813DEC-9315-478B-8736-0820166CB6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5432A525-008F-4029-95CF-E3F69EC14C3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06F333CF-707E-40A3-BAB3-048F27BF12B2}"/>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843D06FE-84E3-4BB8-A47C-3B02F62A8AC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0864EB8-0D02-41B2-9DAD-7968B0E90EE8}"/>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C785A0AB-A18E-456A-93B4-E082724BEB2B}"/>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5CB91CE-80F1-439E-B2EB-7DADF2FBC05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6680E319-7F05-4888-9FB4-296DCE9C9E75}"/>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97A3479-E806-4FDD-AC6F-D0BBEF1F11A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186DE44C-BCD9-4CCB-958E-A8D58488F8E5}"/>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89D49990-909D-42C1-864E-0B4B7C950B8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FB656CE1-1C45-494C-83F3-0DE85AD10BC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4AC3108F-EE7B-4D7A-AAD2-58A943325D4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00577402-C60D-47B9-A9A4-29FEF86FDBAE}"/>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E7498CB7-5019-4F21-941D-10DE5C7D7E2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67DB938-6E06-473B-9406-513B39E4DBC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691D319-AAAF-4E10-AAAB-B222F822EFA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791E099E-7728-4C1F-A1AC-9CF45102A051}"/>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62FE81AA-1DDF-44B8-9E3E-B2BD2B5F3517}"/>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FE697FDC-9678-4E01-9132-96BBFBA7E2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8" name="Circle: Hollow 57">
              <a:extLst>
                <a:ext uri="{FF2B5EF4-FFF2-40B4-BE49-F238E27FC236}">
                  <a16:creationId xmlns:a16="http://schemas.microsoft.com/office/drawing/2014/main" id="{C1BCC805-69D9-406E-A4EF-2AB88B7AD5D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64636D2D-766F-2175-AB89-8492205155E3}"/>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5065638E-8872-1A62-CEA8-22B7C594ECC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BE901E51-0E5B-47D1-3CB5-9C339FA13D8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16386E44-7124-FFF1-2E60-7B5BB87DEA7B}"/>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994A688E-E070-B4D9-9392-53EB59258877}"/>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120883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ANK YOU PAGE AF 2">
    <p:bg>
      <p:bgPr>
        <a:solidFill>
          <a:schemeClr val="bg1"/>
        </a:solidFill>
        <a:effectLst/>
      </p:bgPr>
    </p:bg>
    <p:spTree>
      <p:nvGrpSpPr>
        <p:cNvPr id="1" name=""/>
        <p:cNvGrpSpPr/>
        <p:nvPr/>
      </p:nvGrpSpPr>
      <p:grpSpPr>
        <a:xfrm>
          <a:off x="0" y="0"/>
          <a:ext cx="0" cy="0"/>
          <a:chOff x="0" y="0"/>
          <a:chExt cx="0" cy="0"/>
        </a:xfrm>
      </p:grpSpPr>
      <p:pic>
        <p:nvPicPr>
          <p:cNvPr id="56" name="Picture 2">
            <a:extLst>
              <a:ext uri="{FF2B5EF4-FFF2-40B4-BE49-F238E27FC236}">
                <a16:creationId xmlns:a16="http://schemas.microsoft.com/office/drawing/2014/main" id="{4B875472-0CD0-4D97-A4E1-91E9A8328F0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232F2D46-4570-4AEC-9ED6-5E35E3BAB85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1C47F234-0A60-4960-850E-D7781A59071D}"/>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89517E1E-13C9-41DE-B8B6-85208D9852AE}"/>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97EDEBF5-B318-4F20-98E0-A5EEDF1165FB}"/>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9ED2D3C-D048-4639-AECA-73D9C3948E99}"/>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B8EB2903-AA1F-42AD-B0A9-D6274F815D1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F4199C2E-807F-43A8-A499-EBE88A24A0A3}"/>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6398FC5B-6E56-4C97-AEC8-01592F57DB5B}"/>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0685FE09-4D20-4C04-B53A-DA88BFC9EB4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D589A8C9-F558-45E8-AC82-B54687BE665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6C883584-BFCD-40AD-8EFA-D2A8A62C7B0A}"/>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C6F2F031-BA0D-460B-A758-60915EAEC071}"/>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65FF7D9-FD14-4844-B7A8-AF564567DB96}"/>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DDB206D4-1889-484D-807B-796F58382B1E}"/>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B0EDFE87-AF38-4993-8346-49BF237346C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1C00934C-7580-4B89-86A6-EE5836A863F4}"/>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62A043CB-D9FE-47AB-93F7-CCB2A0B731A6}"/>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FB56B01D-4300-4DEA-8ED7-63CE4DDFB2B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0009705-0F62-42E0-8505-1AEE053BE78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C664632D-B114-4CE7-8938-54B4D2F6A50D}"/>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C86EC49-10A3-4174-BD7B-1B420B1A9AC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3E8A9B-81B2-4BEE-879A-C296B59A3262}"/>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F09970AF-51F0-43A9-B6C7-5AE88348950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4A1D494F-33C3-485D-A5FE-80939935685A}"/>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771143BF-A24E-4ED5-9D8D-599F220F1423}"/>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F6484BD-887D-4FF0-9DD5-0A01BF62A75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06482A0-147A-4950-8C53-BAC1E52172DF}"/>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82749C75-A67C-4720-AB92-DC49143EEC7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7919612C-6DBE-4CE3-B77B-2B7B3198514C}"/>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708FE6B-B0C6-4AD7-9444-2BD3F93A3618}"/>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BCFC0A7-853C-495B-9D68-EA009544765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257126C-3FEB-4719-A85E-BB9B6E08B7B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A26391D-B704-4736-9086-3AFB6EE2C8D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3D732B-79E6-4292-8812-4FF89620B7E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0C8A1EE-A5AC-437F-A736-A9BC03F64570}"/>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550BEEA3-3B8A-4ECA-935D-32D25E87EFBD}"/>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8DACAAD8-2D35-4D45-B1C2-345DFD060D9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C01AD63C-45AD-4EC1-9665-AB4855AFDC1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729DBDB-C379-4BA1-AE43-B2A644932BA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7C087-52BC-4EFC-BD09-20152F47ED9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0107CC9-94EB-4B97-B1C6-E75EDABBE6C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6B275410-3950-451A-8F58-0AD448F97BA5}"/>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9DE0AEFE-063C-43D2-BC75-96E8F09953D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3F872ED9-D0B8-4E00-A97F-2945B3CDC4B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8B0131FC-FE78-4B3B-8273-515AC1331A43}"/>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B5F193C-C422-A08D-02A3-94B24BAADDDC}"/>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04AEE2FA-0CF8-1975-8801-0196B63F566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C6E8B07D-7BC9-D0EE-12C6-9E657CE2753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73AA5F0D-19E7-CA8D-5038-8E181FFB52C3}"/>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CE7166ED-3247-EF3A-FDA5-1BDF4E5F3E7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773135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ANK YOU PAGE AF 3">
    <p:bg>
      <p:bgPr>
        <a:solidFill>
          <a:schemeClr val="bg1"/>
        </a:solidFill>
        <a:effectLst/>
      </p:bgPr>
    </p:bg>
    <p:spTree>
      <p:nvGrpSpPr>
        <p:cNvPr id="1" name=""/>
        <p:cNvGrpSpPr/>
        <p:nvPr/>
      </p:nvGrpSpPr>
      <p:grpSpPr>
        <a:xfrm>
          <a:off x="0" y="0"/>
          <a:ext cx="0" cy="0"/>
          <a:chOff x="0" y="0"/>
          <a:chExt cx="0" cy="0"/>
        </a:xfrm>
      </p:grpSpPr>
      <p:pic>
        <p:nvPicPr>
          <p:cNvPr id="52" name="Picture 4">
            <a:extLst>
              <a:ext uri="{FF2B5EF4-FFF2-40B4-BE49-F238E27FC236}">
                <a16:creationId xmlns:a16="http://schemas.microsoft.com/office/drawing/2014/main" id="{42CD170D-E2D3-4EAE-96C3-BEDCB4AAD04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a:extLst>
              <a:ext uri="{FF2B5EF4-FFF2-40B4-BE49-F238E27FC236}">
                <a16:creationId xmlns:a16="http://schemas.microsoft.com/office/drawing/2014/main" id="{3DEB0242-D4DB-4D9A-B54E-93F2FAB9C256}"/>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1FB02DD8-058B-40C6-B85E-3CF1B28296F6}"/>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623768C3-800A-4409-8A50-B68E694CF72F}"/>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60F467B-DBA3-4A1F-8AD4-5F15E2DFB485}"/>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BA5727F-8EA2-4B25-8A65-17396D895918}"/>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C4EFF58C-098D-4DBE-B150-A05A1498C1BE}"/>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50BBBEE4-A3A2-4329-950B-E56D6573E2E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D359FDD4-E223-47C9-A07A-069F94AE4571}"/>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DC66F4E3-040F-4AC6-981D-826451AD706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975A1043-2145-48D9-B59A-70A2CA720056}"/>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837C9E58-08F8-48ED-B14C-41F09A690E85}"/>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27AEB0B-8C69-45A7-8FCC-E4436C3ACFEC}"/>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FE473A9D-7737-4C3D-BF62-2CC98999355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72F77BD8-6C6D-4E33-853C-E1CC361B766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F082B40D-7D10-4932-B7B3-E5F4A4DA78A7}"/>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6B40ACD-DEF8-400E-AAE5-7DFB71DB12CD}"/>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31975E9C-8933-4AC0-B32D-789842EF6518}"/>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E1FCECF0-1B3C-4E66-9D49-E93E797165B3}"/>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6A4E41CA-DCCD-49B7-A252-3F77F7609F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7F863B20-88D1-4546-9708-F283FC1CB734}"/>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85FE9C95-360F-49F8-8CAB-F096E7D57511}"/>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8A2A2F1-2783-441E-BF62-F28790B54C5E}"/>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C7E1B94F-F5D8-456B-AFFC-6D6B8014E3A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891E486A-D8DB-4D08-8B6D-E5D433A9C84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89EB3962-50F1-47E2-9165-6D7EDC083359}"/>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C1028C9-8170-408E-936B-10C6B65714A8}"/>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4C448A1-5EDE-49EE-BEFD-A9B9AFA8DD6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5530ED0F-61D5-49BC-8FBF-CBFBBE474EA5}"/>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B2D74C5-FD12-4BD1-9A70-CE2E9AF5749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131AF2FB-B1A2-4EB2-B097-FEEA42B50FD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875E928A-8E92-47DA-B73D-12C8D94A21F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F5F2D-3989-446F-9236-DAFFCEC240A3}"/>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0A654F5-A607-4D4C-BCDC-9DE8832480E2}"/>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58FE8A3D-594F-4662-A898-B16D8E2185C4}"/>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9244482-D526-4CF3-ADB6-BDE0A92D944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B0CB5A7-8B3B-4448-A88B-D02B55C3E40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FB2F645-B9B9-4F9F-8819-462990AEA9F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ED603EC3-9019-4421-8CD1-23F744B100D7}"/>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D0A948F2-77D6-4B6D-A6F7-A9FA7089EE6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C9E5563-46BE-4893-92CD-2C370B98563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FDC529F-B302-44D0-88B6-F81B35711EC4}"/>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EF83611F-74B7-499E-BCF8-EB10A3851F68}"/>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89503EBE-2E0A-4FDA-A592-83AB7B2B191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7FE96ADE-012C-4B97-BD80-4522B43E7E7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5" name="Circle: Hollow 54">
              <a:extLst>
                <a:ext uri="{FF2B5EF4-FFF2-40B4-BE49-F238E27FC236}">
                  <a16:creationId xmlns:a16="http://schemas.microsoft.com/office/drawing/2014/main" id="{92B86EB3-2A92-4BD0-9195-8BE56F188DAA}"/>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AFBD3F-AD5D-8600-AC6D-EB20C8BA1297}"/>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CEE2A1EF-5E0F-6133-5F22-D2F8FE448BE6}"/>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B679AF60-A914-C7F9-CE72-D93C89E049D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0B81CACC-91FB-66E5-1BBB-17ABAD26647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EF3F2945-0234-4EC6-335F-23EE6BDF7D0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283833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AGE AS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6261AAFF-27D6-4C8A-89BA-4AAB5B14A5EB}"/>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65189D-0161-2690-8EB6-C76205F9EBFC}"/>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A15156EC-A839-7AD6-04CB-B069C0B044D9}"/>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5F34E7CA-CE61-FEC8-EF2C-403AF351672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6F1F580-966B-F5AD-1320-6CF76D2077FF}"/>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89F651E4-44CB-E1EF-C7CC-953381AF52CF}"/>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1165996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PAGE AS 2">
    <p:bg>
      <p:bgPr>
        <a:solidFill>
          <a:schemeClr val="bg1"/>
        </a:solidFill>
        <a:effectLst/>
      </p:bgPr>
    </p:bg>
    <p:spTree>
      <p:nvGrpSpPr>
        <p:cNvPr id="1" name=""/>
        <p:cNvGrpSpPr/>
        <p:nvPr/>
      </p:nvGrpSpPr>
      <p:grpSpPr>
        <a:xfrm>
          <a:off x="0" y="0"/>
          <a:ext cx="0" cy="0"/>
          <a:chOff x="0" y="0"/>
          <a:chExt cx="0" cy="0"/>
        </a:xfrm>
      </p:grpSpPr>
      <p:pic>
        <p:nvPicPr>
          <p:cNvPr id="51" name="Picture 10">
            <a:extLst>
              <a:ext uri="{FF2B5EF4-FFF2-40B4-BE49-F238E27FC236}">
                <a16:creationId xmlns:a16="http://schemas.microsoft.com/office/drawing/2014/main" id="{E573F0F9-CA34-4471-AB56-0F3FDE313E9D}"/>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9B48FD4-C636-D21C-6736-011505A2773A}"/>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B1D882F3-929B-7F2A-77D4-7F9B9F0AC47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77D59EB9-0222-F9DB-29E1-659319A1A3D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7AFAF643-4D94-1A70-BF26-2DE352681940}"/>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BD238BFD-5C7B-CB54-873B-F518D1CD063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8404155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AGE AS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9207E32E-B2C1-401E-91ED-289434AFCAA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B0D3A44-932D-4331-9E10-E770625FF8D9}"/>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56E9473-2548-2170-2964-117767E07F29}"/>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70B9BD01-D732-2BD3-A1D1-DF2FE3C6D0AC}"/>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D886544A-0965-E24C-4CBB-5E0479798E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3B0F394E-649C-E31F-DE95-E6FC26ECBDF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EDB68D2-CBDA-C814-893D-1BEC3B8F83C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1438103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PAGE AS 4">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20ADC257-02FB-4A7B-B271-AE9B32D1B3C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1C27CDD-E521-4D44-885E-AB87A77D426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313731B-2807-1FB9-5BA8-0CBBE800BF6F}"/>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3F8D2354-D0E1-D6B3-DFD5-B012C6761A0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E81F2608-3CD9-27C5-9E50-757617CE682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EF28EE7-BB10-A215-8466-DF3EE4E0BC2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799B81D-C347-9873-4092-2E439BF199EC}"/>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149240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PAGE SA 1">
    <p:bg>
      <p:bgPr>
        <a:solidFill>
          <a:schemeClr val="bg1"/>
        </a:solidFill>
        <a:effectLst/>
      </p:bgPr>
    </p:bg>
    <p:spTree>
      <p:nvGrpSpPr>
        <p:cNvPr id="1" name=""/>
        <p:cNvGrpSpPr/>
        <p:nvPr/>
      </p:nvGrpSpPr>
      <p:grpSpPr>
        <a:xfrm>
          <a:off x="0" y="0"/>
          <a:ext cx="0" cy="0"/>
          <a:chOff x="0" y="0"/>
          <a:chExt cx="0" cy="0"/>
        </a:xfrm>
      </p:grpSpPr>
      <p:pic>
        <p:nvPicPr>
          <p:cNvPr id="51" name="Picture 4">
            <a:extLst>
              <a:ext uri="{FF2B5EF4-FFF2-40B4-BE49-F238E27FC236}">
                <a16:creationId xmlns:a16="http://schemas.microsoft.com/office/drawing/2014/main" id="{FA03A50D-6AE3-4A1A-82A4-F1160A10ADA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DE7D188-FF38-24EE-F23D-B3AB809E4F2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2B355AB6-D745-7DBC-AC72-ADB90B73F755}"/>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79A64920-F59B-D835-D40A-C640EC3A18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FF40C6A-7EF8-5BD7-443E-EB140690718E}"/>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07A7226-E1C8-6E70-6580-0D995858F3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02747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JECTIVES PAGE_IMAG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dirty="0">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D7B0406E-C1BB-6A1F-CB07-3376E948D0BF}"/>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94D745D1-DC55-B4E1-7DAD-4B4B000F3095}"/>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250790E5-9E11-4649-E4AC-41D375E1BFC4}"/>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0">
            <a:extLst>
              <a:ext uri="{FF2B5EF4-FFF2-40B4-BE49-F238E27FC236}">
                <a16:creationId xmlns:a16="http://schemas.microsoft.com/office/drawing/2014/main" id="{BF4F2507-8787-C114-465A-45FB837B2E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9954" t="17481" r="12474"/>
          <a:stretch/>
        </p:blipFill>
        <p:spPr>
          <a:xfrm>
            <a:off x="8680177" y="-346796"/>
            <a:ext cx="3892823" cy="3892823"/>
          </a:xfrm>
          <a:prstGeom prst="ellipse">
            <a:avLst/>
          </a:prstGeom>
        </p:spPr>
      </p:pic>
      <p:sp>
        <p:nvSpPr>
          <p:cNvPr id="5" name="Slide Number Placeholder 4">
            <a:extLst>
              <a:ext uri="{FF2B5EF4-FFF2-40B4-BE49-F238E27FC236}">
                <a16:creationId xmlns:a16="http://schemas.microsoft.com/office/drawing/2014/main" id="{F2DF920D-BCAA-6EC7-36CB-6EC46C08082B}"/>
              </a:ext>
            </a:extLst>
          </p:cNvPr>
          <p:cNvSpPr>
            <a:spLocks noGrp="1"/>
          </p:cNvSpPr>
          <p:nvPr>
            <p:ph type="sldNum" sz="quarter" idx="14"/>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1546764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PAGE SA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1FD565F1-CE52-423C-837B-CE26808A594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a:extLst>
              <a:ext uri="{FF2B5EF4-FFF2-40B4-BE49-F238E27FC236}">
                <a16:creationId xmlns:a16="http://schemas.microsoft.com/office/drawing/2014/main" id="{DAA12FF9-FC73-42F4-A8C0-06B425D68C24}"/>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44066E5-D485-B20E-23F8-BA538FE63B76}"/>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49677AD9-9927-112B-CD93-C6AB768024F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DF400F2-D7CD-91AC-733C-6A8981AFFA0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572D95F7-9B10-7EDA-FDC0-CEA990E4EA51}"/>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5BA402-9DCA-F631-3606-27C1B80E3FC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433125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ANK YOU PAGE SA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7E2BD9D-D657-4CE8-842A-767172F34AE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F7FBFF91-A105-41A9-866A-189BD0AE5F5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395E863-A3EF-D95B-7F65-48640690A29A}"/>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A744D09A-5187-56BE-7D72-9F6BE0F9FAE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A22F0CA6-E966-6985-747C-5D86F04A2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2FE152F9-2252-8A3A-18FB-6ADFBC10B0D1}"/>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848D06-76A6-E078-107B-2FAD2DA8C563}"/>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8062765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ANK YOU PAGE WE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84BBC7B-39A7-4D33-8578-775F6C133ECA}"/>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01CD296-9DE8-0DD0-ED29-DD2FC801FC13}"/>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8942E540-32B0-CE6B-C5AE-CF9C131B5556}"/>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E02450F8-DB8B-D76C-390E-9002ACB3DF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DABFD9C-B5FD-85C0-A1D2-A5E629515AC6}"/>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3EE9D180-B8AA-7965-70DA-C045045DCB31}"/>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906903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AGE WE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18DE8AAD-FEFC-4530-86CB-BEBAEEEFC79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FFC93946-E9C1-47E2-BDD7-231CD60BB7CC}"/>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3839574-F60F-6259-D762-368AD241B08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219B7B0B-735A-D3CA-3F53-27D2296D027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9AD8455D-697D-7D0C-67A1-6E1FC6D3E33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57529CD-2909-A294-461E-F65FCE48DAF7}"/>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FDD2208-E8E6-6004-6709-DA174B630FDE}"/>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5309432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PAGE WE 3">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28B3ECE0-8905-43FD-8F36-C1CFE1BA276D}"/>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9D23DAE-CA4D-43DB-81D3-233899ABDF9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D7D5F24-C35B-6373-41CD-53AB794BBB55}"/>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1CAC10F9-04C3-4CA0-A26B-304BFA589A3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FD94297-1C7D-09C9-2815-9B5427A1A9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0F103A5C-8AC2-0458-2240-6F1261DDC15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C280925C-665E-8081-B3E8-BF6D9091CEB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10966391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ANK YOU PAGE OTHER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C902C83D-4C13-410D-8053-A68EDCD3CE3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20ED1F78-DE7E-C48A-7E7A-3578C7F547C6}"/>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DB284B44-83A5-DD7D-614B-2A35A58B743B}"/>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447E75B-10DA-8580-0CC2-91FD004B0CA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9DB78F60-E22C-F4F2-E1A5-07AC9F65BEF0}"/>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4CDA07-6A6A-9D2C-162F-793799FF0FAF}"/>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8432578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ANK YOU PAGE OTHER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4C09028A-120A-4A2D-A0F6-8C6E56A3B36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B13AD673-57C3-4D5B-8979-8AD868B5A0F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DC6DDF5-3750-C6D9-75BA-AD5A343ACEF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9D936BC4-949D-89E2-5DA6-CEF87DA8B02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529C19F3-7DC2-6BA2-3F36-E0F12ED95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D8D3CD3E-C346-A25D-D6E7-3CEF80CB68F0}"/>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0BF4F1F-1A2A-9E4B-20CA-E2E5181E83F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101935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ANK YOU PAGE OTHER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AC757853-035A-45B5-8E0E-9B9016F39CB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17A2D106-0FD4-4D4C-9B41-4C91A2F166F8}"/>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dirty="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105230" y="240788"/>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29E8796-FC95-6BC3-1E19-93ACEA4DA383}"/>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D735C7B8-DF3E-25CC-F453-C66C0469DA3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BEEB1334-17B8-E102-1B83-CD31D91FAB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060789B-6A0A-C61C-85C7-6519B8F49536}"/>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E2FFD02-160C-D7B1-B19D-AD7082A9B47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29185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ASHPAGE AF 2">
    <p:bg>
      <p:bgPr>
        <a:solidFill>
          <a:schemeClr val="bg1"/>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AC8B736D-BE55-4CC1-AA19-C0883264D3B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a:extLst>
              <a:ext uri="{FF2B5EF4-FFF2-40B4-BE49-F238E27FC236}">
                <a16:creationId xmlns:a16="http://schemas.microsoft.com/office/drawing/2014/main" id="{32358697-E1BE-4BC9-B487-F3AAF76A07C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55" name="Group 54">
            <a:extLst>
              <a:ext uri="{FF2B5EF4-FFF2-40B4-BE49-F238E27FC236}">
                <a16:creationId xmlns:a16="http://schemas.microsoft.com/office/drawing/2014/main" id="{B4AEC8F3-05D1-4FBF-BE72-97709EA1EAB0}"/>
              </a:ext>
            </a:extLst>
          </p:cNvPr>
          <p:cNvGrpSpPr/>
          <p:nvPr userDrawn="1"/>
        </p:nvGrpSpPr>
        <p:grpSpPr>
          <a:xfrm>
            <a:off x="6073832" y="268219"/>
            <a:ext cx="5836821" cy="5088756"/>
            <a:chOff x="5836362" y="68074"/>
            <a:chExt cx="6083274" cy="5355263"/>
          </a:xfrm>
        </p:grpSpPr>
        <p:sp>
          <p:nvSpPr>
            <p:cNvPr id="57" name="Oval 56">
              <a:extLst>
                <a:ext uri="{FF2B5EF4-FFF2-40B4-BE49-F238E27FC236}">
                  <a16:creationId xmlns:a16="http://schemas.microsoft.com/office/drawing/2014/main" id="{5AF443D3-F812-4F86-8B8E-E5816A3E1170}"/>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Circle: Hollow 57">
              <a:extLst>
                <a:ext uri="{FF2B5EF4-FFF2-40B4-BE49-F238E27FC236}">
                  <a16:creationId xmlns:a16="http://schemas.microsoft.com/office/drawing/2014/main" id="{9D95686D-A19F-4FBB-B1D5-3511D14F37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9" name="Circle: Hollow 58">
              <a:extLst>
                <a:ext uri="{FF2B5EF4-FFF2-40B4-BE49-F238E27FC236}">
                  <a16:creationId xmlns:a16="http://schemas.microsoft.com/office/drawing/2014/main" id="{0BC42117-CDE5-46AC-8D46-B6332B460CB2}"/>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0" name="Oval 59">
              <a:extLst>
                <a:ext uri="{FF2B5EF4-FFF2-40B4-BE49-F238E27FC236}">
                  <a16:creationId xmlns:a16="http://schemas.microsoft.com/office/drawing/2014/main" id="{289C79DA-BCA2-4018-BEFB-181F9216520E}"/>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Circle: Hollow 60">
              <a:extLst>
                <a:ext uri="{FF2B5EF4-FFF2-40B4-BE49-F238E27FC236}">
                  <a16:creationId xmlns:a16="http://schemas.microsoft.com/office/drawing/2014/main" id="{D0EF23F0-FD20-46AA-AE67-872B404AB78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2" name="Oval 61">
              <a:extLst>
                <a:ext uri="{FF2B5EF4-FFF2-40B4-BE49-F238E27FC236}">
                  <a16:creationId xmlns:a16="http://schemas.microsoft.com/office/drawing/2014/main" id="{27180E7E-8326-4795-9C6A-34CDD3858C60}"/>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Circle: Hollow 62">
              <a:extLst>
                <a:ext uri="{FF2B5EF4-FFF2-40B4-BE49-F238E27FC236}">
                  <a16:creationId xmlns:a16="http://schemas.microsoft.com/office/drawing/2014/main" id="{7A2CAE88-E9E1-4077-8B53-9B96F596121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4" name="Oval 63">
              <a:extLst>
                <a:ext uri="{FF2B5EF4-FFF2-40B4-BE49-F238E27FC236}">
                  <a16:creationId xmlns:a16="http://schemas.microsoft.com/office/drawing/2014/main" id="{205D7D68-BCAA-475C-9132-75C2BA90D0D3}"/>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Circle: Hollow 69">
              <a:extLst>
                <a:ext uri="{FF2B5EF4-FFF2-40B4-BE49-F238E27FC236}">
                  <a16:creationId xmlns:a16="http://schemas.microsoft.com/office/drawing/2014/main" id="{A87B830C-E710-4D36-84CB-310EE9A5DBC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71" name="Circle: Hollow 70">
              <a:extLst>
                <a:ext uri="{FF2B5EF4-FFF2-40B4-BE49-F238E27FC236}">
                  <a16:creationId xmlns:a16="http://schemas.microsoft.com/office/drawing/2014/main" id="{E4239021-43E9-4E39-BB61-34836FF5D4D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2" name="Oval 71">
              <a:extLst>
                <a:ext uri="{FF2B5EF4-FFF2-40B4-BE49-F238E27FC236}">
                  <a16:creationId xmlns:a16="http://schemas.microsoft.com/office/drawing/2014/main" id="{4E2E866C-1C81-4F83-9ECD-A95CA4EACA2B}"/>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3" name="Oval 72">
              <a:extLst>
                <a:ext uri="{FF2B5EF4-FFF2-40B4-BE49-F238E27FC236}">
                  <a16:creationId xmlns:a16="http://schemas.microsoft.com/office/drawing/2014/main" id="{7996A0E6-0698-4B03-9301-CE77ECF355A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Oval 73">
              <a:extLst>
                <a:ext uri="{FF2B5EF4-FFF2-40B4-BE49-F238E27FC236}">
                  <a16:creationId xmlns:a16="http://schemas.microsoft.com/office/drawing/2014/main" id="{423C7B6A-0681-4B1A-8B44-A11B7439F952}"/>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5" name="Oval 74">
              <a:extLst>
                <a:ext uri="{FF2B5EF4-FFF2-40B4-BE49-F238E27FC236}">
                  <a16:creationId xmlns:a16="http://schemas.microsoft.com/office/drawing/2014/main" id="{803A0765-3ED3-4F89-85B1-D7729A7C40F7}"/>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6" name="Circle: Hollow 75">
              <a:extLst>
                <a:ext uri="{FF2B5EF4-FFF2-40B4-BE49-F238E27FC236}">
                  <a16:creationId xmlns:a16="http://schemas.microsoft.com/office/drawing/2014/main" id="{4BCE93E5-A965-4373-99A7-D17DF7539F9E}"/>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7" name="Oval 76">
              <a:extLst>
                <a:ext uri="{FF2B5EF4-FFF2-40B4-BE49-F238E27FC236}">
                  <a16:creationId xmlns:a16="http://schemas.microsoft.com/office/drawing/2014/main" id="{46ADE4A9-D827-4A98-8D6C-8838DD08CD93}"/>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8" name="Oval 77">
              <a:extLst>
                <a:ext uri="{FF2B5EF4-FFF2-40B4-BE49-F238E27FC236}">
                  <a16:creationId xmlns:a16="http://schemas.microsoft.com/office/drawing/2014/main" id="{228C071F-6C60-4B47-AA35-8E40B99D3DD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9" name="Oval 78">
              <a:extLst>
                <a:ext uri="{FF2B5EF4-FFF2-40B4-BE49-F238E27FC236}">
                  <a16:creationId xmlns:a16="http://schemas.microsoft.com/office/drawing/2014/main" id="{AE973C1F-8FED-4F0C-AB64-EA956CDA9DE9}"/>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Oval 79">
              <a:extLst>
                <a:ext uri="{FF2B5EF4-FFF2-40B4-BE49-F238E27FC236}">
                  <a16:creationId xmlns:a16="http://schemas.microsoft.com/office/drawing/2014/main" id="{09376B53-447E-4EF8-B52E-4BAC39A6B323}"/>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1" name="Oval 80">
              <a:extLst>
                <a:ext uri="{FF2B5EF4-FFF2-40B4-BE49-F238E27FC236}">
                  <a16:creationId xmlns:a16="http://schemas.microsoft.com/office/drawing/2014/main" id="{B065B701-D4C7-4A88-BE4B-2A3128D06C0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2" name="Oval 81">
              <a:extLst>
                <a:ext uri="{FF2B5EF4-FFF2-40B4-BE49-F238E27FC236}">
                  <a16:creationId xmlns:a16="http://schemas.microsoft.com/office/drawing/2014/main" id="{A36E6813-6D61-4890-9A81-5F309F685111}"/>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3" name="Oval 82">
              <a:extLst>
                <a:ext uri="{FF2B5EF4-FFF2-40B4-BE49-F238E27FC236}">
                  <a16:creationId xmlns:a16="http://schemas.microsoft.com/office/drawing/2014/main" id="{DE020CDE-4B09-4F5E-965A-53B2846D55F7}"/>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4" name="Oval 83">
              <a:extLst>
                <a:ext uri="{FF2B5EF4-FFF2-40B4-BE49-F238E27FC236}">
                  <a16:creationId xmlns:a16="http://schemas.microsoft.com/office/drawing/2014/main" id="{AC2F2CC2-5529-420E-802F-F4E925BBF730}"/>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Oval 84">
              <a:extLst>
                <a:ext uri="{FF2B5EF4-FFF2-40B4-BE49-F238E27FC236}">
                  <a16:creationId xmlns:a16="http://schemas.microsoft.com/office/drawing/2014/main" id="{D047EC91-B556-402C-8514-70DE3338CA61}"/>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6" name="Oval 85">
              <a:extLst>
                <a:ext uri="{FF2B5EF4-FFF2-40B4-BE49-F238E27FC236}">
                  <a16:creationId xmlns:a16="http://schemas.microsoft.com/office/drawing/2014/main" id="{15431908-CAEB-487F-AAC8-7EC86ABB2E3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7" name="Oval 86">
              <a:extLst>
                <a:ext uri="{FF2B5EF4-FFF2-40B4-BE49-F238E27FC236}">
                  <a16:creationId xmlns:a16="http://schemas.microsoft.com/office/drawing/2014/main" id="{70A783DD-81C3-4A0A-AF3A-82D891E405DE}"/>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Oval 87">
              <a:extLst>
                <a:ext uri="{FF2B5EF4-FFF2-40B4-BE49-F238E27FC236}">
                  <a16:creationId xmlns:a16="http://schemas.microsoft.com/office/drawing/2014/main" id="{C99D31CB-3C8B-41E7-BEAB-81EE3C479C3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9" name="Oval 88">
              <a:extLst>
                <a:ext uri="{FF2B5EF4-FFF2-40B4-BE49-F238E27FC236}">
                  <a16:creationId xmlns:a16="http://schemas.microsoft.com/office/drawing/2014/main" id="{276720E2-78DC-4F58-AC67-70B501421FD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Oval 89">
              <a:extLst>
                <a:ext uri="{FF2B5EF4-FFF2-40B4-BE49-F238E27FC236}">
                  <a16:creationId xmlns:a16="http://schemas.microsoft.com/office/drawing/2014/main" id="{B9BA35A9-CF0D-4E0B-8E3E-D997CD01A67F}"/>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Oval 90">
              <a:extLst>
                <a:ext uri="{FF2B5EF4-FFF2-40B4-BE49-F238E27FC236}">
                  <a16:creationId xmlns:a16="http://schemas.microsoft.com/office/drawing/2014/main" id="{97D30F32-E6BF-43FD-9053-EA8B82534CF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92" name="Oval 91">
              <a:extLst>
                <a:ext uri="{FF2B5EF4-FFF2-40B4-BE49-F238E27FC236}">
                  <a16:creationId xmlns:a16="http://schemas.microsoft.com/office/drawing/2014/main" id="{30B965F0-94B9-4302-9215-DAA8D3A5EAC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Oval 92">
              <a:extLst>
                <a:ext uri="{FF2B5EF4-FFF2-40B4-BE49-F238E27FC236}">
                  <a16:creationId xmlns:a16="http://schemas.microsoft.com/office/drawing/2014/main" id="{F8466486-0388-4E26-9B61-AA12DAF8B5D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Oval 93">
              <a:extLst>
                <a:ext uri="{FF2B5EF4-FFF2-40B4-BE49-F238E27FC236}">
                  <a16:creationId xmlns:a16="http://schemas.microsoft.com/office/drawing/2014/main" id="{074545C7-8F3A-400E-9FCA-2159F6E29D9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5" name="Oval 94">
              <a:extLst>
                <a:ext uri="{FF2B5EF4-FFF2-40B4-BE49-F238E27FC236}">
                  <a16:creationId xmlns:a16="http://schemas.microsoft.com/office/drawing/2014/main" id="{78A0446C-8D9E-46A9-8102-8C9F30E180A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6" name="Oval 95">
              <a:extLst>
                <a:ext uri="{FF2B5EF4-FFF2-40B4-BE49-F238E27FC236}">
                  <a16:creationId xmlns:a16="http://schemas.microsoft.com/office/drawing/2014/main" id="{0344245E-D03F-402E-A49C-6BABDD17938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7" name="Oval 96">
              <a:extLst>
                <a:ext uri="{FF2B5EF4-FFF2-40B4-BE49-F238E27FC236}">
                  <a16:creationId xmlns:a16="http://schemas.microsoft.com/office/drawing/2014/main" id="{D1892B87-E656-4A94-A5A5-6EE6E6A31A3D}"/>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8" name="Oval 97">
              <a:extLst>
                <a:ext uri="{FF2B5EF4-FFF2-40B4-BE49-F238E27FC236}">
                  <a16:creationId xmlns:a16="http://schemas.microsoft.com/office/drawing/2014/main" id="{84217071-D59E-46B8-BFFA-AAA62024AB28}"/>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9" name="Oval 98">
              <a:extLst>
                <a:ext uri="{FF2B5EF4-FFF2-40B4-BE49-F238E27FC236}">
                  <a16:creationId xmlns:a16="http://schemas.microsoft.com/office/drawing/2014/main" id="{80CD4824-C6A6-452F-9229-1A42C666E901}"/>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0" name="Oval 99">
              <a:extLst>
                <a:ext uri="{FF2B5EF4-FFF2-40B4-BE49-F238E27FC236}">
                  <a16:creationId xmlns:a16="http://schemas.microsoft.com/office/drawing/2014/main" id="{EE7198A6-F01F-42DB-B952-E057D3A469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1" name="Oval 100">
              <a:extLst>
                <a:ext uri="{FF2B5EF4-FFF2-40B4-BE49-F238E27FC236}">
                  <a16:creationId xmlns:a16="http://schemas.microsoft.com/office/drawing/2014/main" id="{0493F4AA-9AB1-4B4D-95AE-AC30D0DF186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2" name="Circle: Hollow 101">
              <a:extLst>
                <a:ext uri="{FF2B5EF4-FFF2-40B4-BE49-F238E27FC236}">
                  <a16:creationId xmlns:a16="http://schemas.microsoft.com/office/drawing/2014/main" id="{6EF5040E-82CE-4E1D-877E-3CBD1AD8497E}"/>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103" name="Circle: Hollow 102">
              <a:extLst>
                <a:ext uri="{FF2B5EF4-FFF2-40B4-BE49-F238E27FC236}">
                  <a16:creationId xmlns:a16="http://schemas.microsoft.com/office/drawing/2014/main" id="{09BEAE28-30DA-4255-9EFE-16682F31BAC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B51E713-9505-E355-6810-9870EC770376}"/>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6C7FE48-FF00-459A-7AE6-E100ED8257A1}"/>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DA72651-6438-02D8-07C6-0EEFF946783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11EB31F-3938-40BB-5ED6-AC3789D161A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898D12F-0B21-6CCF-0BF2-2F3AF3C8E309}"/>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718904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BJECTIVES PAGE_IMAG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dirty="0">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23ADD9C8-F505-F387-6A83-94A7167636BD}"/>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38335404-23E4-214B-40CF-0D5E34B8C82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3331DB0F-033C-00F0-0DEA-20406F0797B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5" descr="Diagram, venn diagram&#10;&#10;Description automatically generated">
            <a:extLst>
              <a:ext uri="{FF2B5EF4-FFF2-40B4-BE49-F238E27FC236}">
                <a16:creationId xmlns:a16="http://schemas.microsoft.com/office/drawing/2014/main" id="{5E5FB6B2-7168-B6E6-8058-DC88D4C247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4414" t="13326" r="11338" b="12427"/>
          <a:stretch/>
        </p:blipFill>
        <p:spPr>
          <a:xfrm>
            <a:off x="8692877" y="-308696"/>
            <a:ext cx="3892823" cy="3892823"/>
          </a:xfrm>
          <a:prstGeom prst="ellipse">
            <a:avLst/>
          </a:prstGeom>
        </p:spPr>
      </p:pic>
      <p:sp>
        <p:nvSpPr>
          <p:cNvPr id="5" name="Slide Number Placeholder 4">
            <a:extLst>
              <a:ext uri="{FF2B5EF4-FFF2-40B4-BE49-F238E27FC236}">
                <a16:creationId xmlns:a16="http://schemas.microsoft.com/office/drawing/2014/main" id="{37507388-12F8-CBCE-7631-6A17DEAD69B1}"/>
              </a:ext>
            </a:extLst>
          </p:cNvPr>
          <p:cNvSpPr>
            <a:spLocks noGrp="1"/>
          </p:cNvSpPr>
          <p:nvPr>
            <p:ph type="sldNum" sz="quarter" idx="14"/>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94012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JECTIVES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5" name="Oval 4">
            <a:extLst>
              <a:ext uri="{FF2B5EF4-FFF2-40B4-BE49-F238E27FC236}">
                <a16:creationId xmlns:a16="http://schemas.microsoft.com/office/drawing/2014/main" id="{11CD8C8C-63CF-4943-89D3-B5BCA0F16C98}"/>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ircle: Hollow 5">
            <a:extLst>
              <a:ext uri="{FF2B5EF4-FFF2-40B4-BE49-F238E27FC236}">
                <a16:creationId xmlns:a16="http://schemas.microsoft.com/office/drawing/2014/main" id="{77FBCCC6-2047-406D-B33D-317698474BB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7" name="Circle: Hollow 6">
            <a:extLst>
              <a:ext uri="{FF2B5EF4-FFF2-40B4-BE49-F238E27FC236}">
                <a16:creationId xmlns:a16="http://schemas.microsoft.com/office/drawing/2014/main" id="{12D982B6-0289-439C-A43F-7FF6B3744AD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 name="Picture Placeholder 2">
            <a:extLst>
              <a:ext uri="{FF2B5EF4-FFF2-40B4-BE49-F238E27FC236}">
                <a16:creationId xmlns:a16="http://schemas.microsoft.com/office/drawing/2014/main" id="{FEB8FEBE-B61F-4667-AB15-3E01E9EFF369}"/>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dirty="0"/>
          </a:p>
        </p:txBody>
      </p:sp>
      <p:sp>
        <p:nvSpPr>
          <p:cNvPr id="16" name="Text Placeholder 5">
            <a:extLst>
              <a:ext uri="{FF2B5EF4-FFF2-40B4-BE49-F238E27FC236}">
                <a16:creationId xmlns:a16="http://schemas.microsoft.com/office/drawing/2014/main" id="{543B43F8-9408-4DE6-ADB1-0F55458A9A22}"/>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1</a:t>
            </a:r>
          </a:p>
        </p:txBody>
      </p:sp>
      <p:sp>
        <p:nvSpPr>
          <p:cNvPr id="17" name="Text Placeholder 5">
            <a:extLst>
              <a:ext uri="{FF2B5EF4-FFF2-40B4-BE49-F238E27FC236}">
                <a16:creationId xmlns:a16="http://schemas.microsoft.com/office/drawing/2014/main" id="{94772D6F-1FC4-4476-A44A-08C36474BFAC}"/>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2</a:t>
            </a:r>
          </a:p>
        </p:txBody>
      </p:sp>
      <p:sp>
        <p:nvSpPr>
          <p:cNvPr id="18" name="Text Placeholder 5">
            <a:extLst>
              <a:ext uri="{FF2B5EF4-FFF2-40B4-BE49-F238E27FC236}">
                <a16:creationId xmlns:a16="http://schemas.microsoft.com/office/drawing/2014/main" id="{512809E2-9DA5-447E-955E-34FB70D95FD4}"/>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3</a:t>
            </a:r>
          </a:p>
        </p:txBody>
      </p:sp>
      <p:sp>
        <p:nvSpPr>
          <p:cNvPr id="19" name="Text Placeholder 5">
            <a:extLst>
              <a:ext uri="{FF2B5EF4-FFF2-40B4-BE49-F238E27FC236}">
                <a16:creationId xmlns:a16="http://schemas.microsoft.com/office/drawing/2014/main" id="{B7A3AD81-254E-4701-8E10-052F58E25B96}"/>
              </a:ext>
            </a:extLst>
          </p:cNvPr>
          <p:cNvSpPr>
            <a:spLocks noGrp="1"/>
          </p:cNvSpPr>
          <p:nvPr>
            <p:ph type="body" sz="quarter" idx="14"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nter objective 4</a:t>
            </a:r>
          </a:p>
        </p:txBody>
      </p:sp>
      <p:sp>
        <p:nvSpPr>
          <p:cNvPr id="21" name="TextBox 20">
            <a:extLst>
              <a:ext uri="{FF2B5EF4-FFF2-40B4-BE49-F238E27FC236}">
                <a16:creationId xmlns:a16="http://schemas.microsoft.com/office/drawing/2014/main" id="{90FA61AE-BB1F-440B-B9B9-EEF289294A6B}"/>
              </a:ext>
            </a:extLst>
          </p:cNvPr>
          <p:cNvSpPr txBox="1"/>
          <p:nvPr userDrawn="1"/>
        </p:nvSpPr>
        <p:spPr>
          <a:xfrm>
            <a:off x="512169" y="1425240"/>
            <a:ext cx="7172156" cy="523220"/>
          </a:xfrm>
          <a:prstGeom prst="rect">
            <a:avLst/>
          </a:prstGeom>
          <a:noFill/>
        </p:spPr>
        <p:txBody>
          <a:bodyPr wrap="none" rtlCol="0">
            <a:spAutoFit/>
          </a:bodyPr>
          <a:lstStyle/>
          <a:p>
            <a:r>
              <a:rPr lang="nl-NL" sz="2800" b="1" dirty="0">
                <a:latin typeface="Ink Free" panose="03080402000500000000" pitchFamily="66" charset="0"/>
              </a:rPr>
              <a:t>By then end of this module you will be able to:</a:t>
            </a:r>
          </a:p>
        </p:txBody>
      </p:sp>
      <p:sp>
        <p:nvSpPr>
          <p:cNvPr id="22" name="TextBox 21">
            <a:extLst>
              <a:ext uri="{FF2B5EF4-FFF2-40B4-BE49-F238E27FC236}">
                <a16:creationId xmlns:a16="http://schemas.microsoft.com/office/drawing/2014/main" id="{F50D9795-89E4-442A-AB07-DB9973DB0C26}"/>
              </a:ext>
            </a:extLst>
          </p:cNvPr>
          <p:cNvSpPr txBox="1"/>
          <p:nvPr userDrawn="1"/>
        </p:nvSpPr>
        <p:spPr>
          <a:xfrm>
            <a:off x="179783" y="192389"/>
            <a:ext cx="4556055" cy="584775"/>
          </a:xfrm>
          <a:prstGeom prst="rect">
            <a:avLst/>
          </a:prstGeom>
          <a:noFill/>
        </p:spPr>
        <p:txBody>
          <a:bodyPr wrap="none" rtlCol="0">
            <a:spAutoFit/>
          </a:bodyPr>
          <a:lstStyle/>
          <a:p>
            <a:r>
              <a:rPr lang="en-US" sz="3200" b="1" dirty="0">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dirty="0">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39039A88-022F-DA4D-A90C-074739E883F5}"/>
              </a:ext>
            </a:extLst>
          </p:cNvPr>
          <p:cNvSpPr>
            <a:spLocks noGrp="1"/>
          </p:cNvSpPr>
          <p:nvPr>
            <p:ph type="sldNum" sz="quarter" idx="15"/>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4542084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ANSITION PAGE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1">
            <a:extLst>
              <a:ext uri="{FF2B5EF4-FFF2-40B4-BE49-F238E27FC236}">
                <a16:creationId xmlns:a16="http://schemas.microsoft.com/office/drawing/2014/main" id="{1B34DE5A-A590-4BC7-967E-C466D1AB843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812"/>
          <a:stretch/>
        </p:blipFill>
        <p:spPr>
          <a:xfrm>
            <a:off x="-207754" y="-294381"/>
            <a:ext cx="4732119" cy="4732119"/>
          </a:xfrm>
          <a:prstGeom prst="ellipse">
            <a:avLst/>
          </a:prstGeom>
          <a:ln>
            <a:noFill/>
          </a:ln>
        </p:spPr>
      </p:pic>
    </p:spTree>
    <p:extLst>
      <p:ext uri="{BB962C8B-B14F-4D97-AF65-F5344CB8AC3E}">
        <p14:creationId xmlns:p14="http://schemas.microsoft.com/office/powerpoint/2010/main" val="12583725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20" name="Picture Placeholder 5">
            <a:extLst>
              <a:ext uri="{FF2B5EF4-FFF2-40B4-BE49-F238E27FC236}">
                <a16:creationId xmlns:a16="http://schemas.microsoft.com/office/drawing/2014/main" id="{AA316804-1769-4051-BE67-10D3164B8EC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Tree>
    <p:extLst>
      <p:ext uri="{BB962C8B-B14F-4D97-AF65-F5344CB8AC3E}">
        <p14:creationId xmlns:p14="http://schemas.microsoft.com/office/powerpoint/2010/main" val="38101859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6" name="Picture Placeholder 16">
            <a:extLst>
              <a:ext uri="{FF2B5EF4-FFF2-40B4-BE49-F238E27FC236}">
                <a16:creationId xmlns:a16="http://schemas.microsoft.com/office/drawing/2014/main" id="{9B943C83-6792-468C-8670-C042E6FB9F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C7167A16-EAE0-A61B-2865-BB791E244F85}"/>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2180687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ANSITION PAGE AF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1">
            <a:extLst>
              <a:ext uri="{FF2B5EF4-FFF2-40B4-BE49-F238E27FC236}">
                <a16:creationId xmlns:a16="http://schemas.microsoft.com/office/drawing/2014/main" id="{43FDDFA6-320F-420A-AC82-CAC91807A75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71254" y="-294381"/>
            <a:ext cx="4732119" cy="4732119"/>
          </a:xfrm>
          <a:prstGeom prst="ellipse">
            <a:avLst/>
          </a:prstGeom>
        </p:spPr>
      </p:pic>
      <p:sp>
        <p:nvSpPr>
          <p:cNvPr id="2" name="Slide Number Placeholder 1">
            <a:extLst>
              <a:ext uri="{FF2B5EF4-FFF2-40B4-BE49-F238E27FC236}">
                <a16:creationId xmlns:a16="http://schemas.microsoft.com/office/drawing/2014/main" id="{5B2B5AFF-62F8-61C9-60EB-072D0500C14A}"/>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3813096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3" descr="A picture containing person&#10;&#10;Description automatically generated">
            <a:extLst>
              <a:ext uri="{FF2B5EF4-FFF2-40B4-BE49-F238E27FC236}">
                <a16:creationId xmlns:a16="http://schemas.microsoft.com/office/drawing/2014/main" id="{7F16EA21-8B87-469D-A3E8-3FEA074A8D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01"/>
          <a:stretch/>
        </p:blipFill>
        <p:spPr>
          <a:xfrm>
            <a:off x="-251886" y="-279239"/>
            <a:ext cx="4732119" cy="4732119"/>
          </a:xfrm>
          <a:prstGeom prst="ellipse">
            <a:avLst/>
          </a:prstGeom>
          <a:ln>
            <a:noFill/>
          </a:ln>
        </p:spPr>
      </p:pic>
      <p:sp>
        <p:nvSpPr>
          <p:cNvPr id="2" name="Slide Number Placeholder 1">
            <a:extLst>
              <a:ext uri="{FF2B5EF4-FFF2-40B4-BE49-F238E27FC236}">
                <a16:creationId xmlns:a16="http://schemas.microsoft.com/office/drawing/2014/main" id="{C2CFFBA3-C2F2-0DBF-5A99-A097A97DC970}"/>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6965523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8" descr="A picture containing person, indoor&#10;&#10;Description automatically generated">
            <a:extLst>
              <a:ext uri="{FF2B5EF4-FFF2-40B4-BE49-F238E27FC236}">
                <a16:creationId xmlns:a16="http://schemas.microsoft.com/office/drawing/2014/main" id="{610F21B1-7101-45F6-AA38-752ED285B1B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5379" y="-284856"/>
            <a:ext cx="4732119" cy="4732119"/>
          </a:xfrm>
          <a:prstGeom prst="ellipse">
            <a:avLst/>
          </a:prstGeom>
          <a:ln>
            <a:noFill/>
          </a:ln>
        </p:spPr>
      </p:pic>
      <p:sp>
        <p:nvSpPr>
          <p:cNvPr id="2" name="Slide Number Placeholder 1">
            <a:extLst>
              <a:ext uri="{FF2B5EF4-FFF2-40B4-BE49-F238E27FC236}">
                <a16:creationId xmlns:a16="http://schemas.microsoft.com/office/drawing/2014/main" id="{C685B3C7-680B-1809-7C08-83E7D93E7BD6}"/>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968345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descr="A person sitting on the ground&#10;&#10;Description automatically generated with medium confidence">
            <a:extLst>
              <a:ext uri="{FF2B5EF4-FFF2-40B4-BE49-F238E27FC236}">
                <a16:creationId xmlns:a16="http://schemas.microsoft.com/office/drawing/2014/main" id="{673F2E3E-A5AB-4A07-87D1-393D6A6DFFB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1878" y="-284856"/>
            <a:ext cx="4732119" cy="4732119"/>
          </a:xfrm>
          <a:prstGeom prst="ellipse">
            <a:avLst/>
          </a:prstGeom>
          <a:ln>
            <a:noFill/>
          </a:ln>
        </p:spPr>
      </p:pic>
      <p:sp>
        <p:nvSpPr>
          <p:cNvPr id="2" name="Slide Number Placeholder 1">
            <a:extLst>
              <a:ext uri="{FF2B5EF4-FFF2-40B4-BE49-F238E27FC236}">
                <a16:creationId xmlns:a16="http://schemas.microsoft.com/office/drawing/2014/main" id="{BB3D0B97-CEEB-8C55-44C8-DFBDA46E8AB3}"/>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875516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18" descr="A couple of women sitting on a bench&#10;&#10;Description automatically generated with low confidence">
            <a:extLst>
              <a:ext uri="{FF2B5EF4-FFF2-40B4-BE49-F238E27FC236}">
                <a16:creationId xmlns:a16="http://schemas.microsoft.com/office/drawing/2014/main" id="{491A181A-B572-41EC-BE10-4C83F9B8295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0560" y="-311270"/>
            <a:ext cx="4754940" cy="4765898"/>
          </a:xfrm>
          <a:prstGeom prst="ellipse">
            <a:avLst/>
          </a:prstGeom>
          <a:ln>
            <a:noFill/>
          </a:ln>
        </p:spPr>
      </p:pic>
      <p:sp>
        <p:nvSpPr>
          <p:cNvPr id="2" name="Slide Number Placeholder 1">
            <a:extLst>
              <a:ext uri="{FF2B5EF4-FFF2-40B4-BE49-F238E27FC236}">
                <a16:creationId xmlns:a16="http://schemas.microsoft.com/office/drawing/2014/main" id="{6546058B-CCBB-F224-4F7A-F1B29730A3B2}"/>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09719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ASHPAGE AF 3">
    <p:bg>
      <p:bgPr>
        <a:solidFill>
          <a:schemeClr val="bg1"/>
        </a:solidFill>
        <a:effectLst/>
      </p:bgPr>
    </p:bg>
    <p:spTree>
      <p:nvGrpSpPr>
        <p:cNvPr id="1" name=""/>
        <p:cNvGrpSpPr/>
        <p:nvPr/>
      </p:nvGrpSpPr>
      <p:grpSpPr>
        <a:xfrm>
          <a:off x="0" y="0"/>
          <a:ext cx="0" cy="0"/>
          <a:chOff x="0" y="0"/>
          <a:chExt cx="0" cy="0"/>
        </a:xfrm>
      </p:grpSpPr>
      <p:pic>
        <p:nvPicPr>
          <p:cNvPr id="55" name="Picture 4">
            <a:extLst>
              <a:ext uri="{FF2B5EF4-FFF2-40B4-BE49-F238E27FC236}">
                <a16:creationId xmlns:a16="http://schemas.microsoft.com/office/drawing/2014/main" id="{96BE2E8B-4F21-448D-9169-41CC70C477A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E163D1F5-C5BA-4FF9-8B26-A03AA203D292}"/>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2" name="Group 11">
            <a:extLst>
              <a:ext uri="{FF2B5EF4-FFF2-40B4-BE49-F238E27FC236}">
                <a16:creationId xmlns:a16="http://schemas.microsoft.com/office/drawing/2014/main" id="{C04323F2-1941-4F49-92D8-0EDDF6EDBD9C}"/>
              </a:ext>
            </a:extLst>
          </p:cNvPr>
          <p:cNvGrpSpPr/>
          <p:nvPr userDrawn="1"/>
        </p:nvGrpSpPr>
        <p:grpSpPr>
          <a:xfrm>
            <a:off x="6073832" y="268219"/>
            <a:ext cx="5836821" cy="5088756"/>
            <a:chOff x="5836362" y="68074"/>
            <a:chExt cx="6083274" cy="5355263"/>
          </a:xfrm>
        </p:grpSpPr>
        <p:sp>
          <p:nvSpPr>
            <p:cNvPr id="13" name="Oval 12">
              <a:extLst>
                <a:ext uri="{FF2B5EF4-FFF2-40B4-BE49-F238E27FC236}">
                  <a16:creationId xmlns:a16="http://schemas.microsoft.com/office/drawing/2014/main" id="{B837035D-5F63-4BD9-9B64-04B7DB5F7F38}"/>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E3DE8605-1CD3-4052-B0DA-BEFA96AA1595}"/>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Circle: Hollow 14">
              <a:extLst>
                <a:ext uri="{FF2B5EF4-FFF2-40B4-BE49-F238E27FC236}">
                  <a16:creationId xmlns:a16="http://schemas.microsoft.com/office/drawing/2014/main" id="{FED25739-38B4-4110-9C53-DA5DCDE3B9FD}"/>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01F20A66-6C99-4916-8816-F167107725A1}"/>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74C7EDC0-EBCE-4E3A-9D16-C443CA7804B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Oval 17">
              <a:extLst>
                <a:ext uri="{FF2B5EF4-FFF2-40B4-BE49-F238E27FC236}">
                  <a16:creationId xmlns:a16="http://schemas.microsoft.com/office/drawing/2014/main" id="{B977C1F6-60A7-4B1B-9B31-DDE34B0B2F0B}"/>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510FB1A-C3B2-4CF5-8B2C-BBFB32FCFA0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Oval 19">
              <a:extLst>
                <a:ext uri="{FF2B5EF4-FFF2-40B4-BE49-F238E27FC236}">
                  <a16:creationId xmlns:a16="http://schemas.microsoft.com/office/drawing/2014/main" id="{3766107F-7B2A-4F22-A601-9C16F5B2469C}"/>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A64F1F5-B827-4EA5-8933-E799B8E47C2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2" name="Circle: Hollow 21">
              <a:extLst>
                <a:ext uri="{FF2B5EF4-FFF2-40B4-BE49-F238E27FC236}">
                  <a16:creationId xmlns:a16="http://schemas.microsoft.com/office/drawing/2014/main" id="{126DA8CC-2FAC-4DF8-971C-2E34B29CB181}"/>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6323C646-80F1-4602-AF8A-86A0673FCE7D}"/>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D443EF24-E818-47BF-B8CF-6146C4DE698D}"/>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B8496846-3226-4DAD-A0D5-7D8EF98CA34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Oval 25">
              <a:extLst>
                <a:ext uri="{FF2B5EF4-FFF2-40B4-BE49-F238E27FC236}">
                  <a16:creationId xmlns:a16="http://schemas.microsoft.com/office/drawing/2014/main" id="{B9C359CD-B1AF-454E-9332-15F4BC62967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Circle: Hollow 26">
              <a:extLst>
                <a:ext uri="{FF2B5EF4-FFF2-40B4-BE49-F238E27FC236}">
                  <a16:creationId xmlns:a16="http://schemas.microsoft.com/office/drawing/2014/main" id="{880AD3B9-F91A-486B-86B6-CAD8EAA4304F}"/>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8" name="Oval 27">
              <a:extLst>
                <a:ext uri="{FF2B5EF4-FFF2-40B4-BE49-F238E27FC236}">
                  <a16:creationId xmlns:a16="http://schemas.microsoft.com/office/drawing/2014/main" id="{D8A7D310-3144-4D73-89B9-504A0D7A255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7AE2BFF1-642E-4793-93E5-D89D6AED52E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BD37EEF-F4C0-4062-9F31-DDF51B0450FF}"/>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DC866BA0-A3D8-4195-919B-8111B82EA0FB}"/>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DE8B01D4-3BE6-404D-865E-34AC3CBED0AB}"/>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092553F8-8827-418A-8D3A-834DCD9F220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BE81F47-731F-428A-8ACC-50DA1EDD0FCD}"/>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60E52D23-97A4-4275-8E22-44A3E492E0F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425FB51-11B9-4DD8-958D-FBFB22BFC0B5}"/>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7" name="Oval 36">
              <a:extLst>
                <a:ext uri="{FF2B5EF4-FFF2-40B4-BE49-F238E27FC236}">
                  <a16:creationId xmlns:a16="http://schemas.microsoft.com/office/drawing/2014/main" id="{57E26436-FC86-482A-A140-A3786CAC5AE6}"/>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E28B611-2B90-4E9E-A804-9B799DAE96E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8BD5ED52-6BF2-4195-A6B2-DE80F38E0929}"/>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6C2FEF86-6B99-44C8-BE8D-CE15F48C8E2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E0382D9A-89BF-4090-86B5-346755BC8F4C}"/>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31359F2-D4BA-4B7F-8F88-47D020CC3E1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3" name="Oval 42">
              <a:extLst>
                <a:ext uri="{FF2B5EF4-FFF2-40B4-BE49-F238E27FC236}">
                  <a16:creationId xmlns:a16="http://schemas.microsoft.com/office/drawing/2014/main" id="{86FB5339-6178-417C-BAFD-AB5606A35AA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64A6D78A-A307-44EE-B5BD-F305D59F32D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12192DCC-0F5E-4193-A87B-74A0D413E47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BB951C-002A-4272-A19E-7C8E6330513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3547E64B-4174-4EE0-9189-D6362E41C78B}"/>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CC08A981-C9F9-435A-903D-E7619E0950B5}"/>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D2AD646A-2E19-4579-9412-3377DD2A4A6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FDA3CB9-8E7E-4580-AE92-5A5EA2DD1D2A}"/>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2ECC116-6CBE-46B5-997C-AFD811BFE2AF}"/>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80833912-207A-4794-82C3-302AD41A3C2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Circle: Hollow 52">
              <a:extLst>
                <a:ext uri="{FF2B5EF4-FFF2-40B4-BE49-F238E27FC236}">
                  <a16:creationId xmlns:a16="http://schemas.microsoft.com/office/drawing/2014/main" id="{35A6ABC5-1F91-4587-9A4D-12549EBDC0C6}"/>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4" name="Circle: Hollow 53">
              <a:extLst>
                <a:ext uri="{FF2B5EF4-FFF2-40B4-BE49-F238E27FC236}">
                  <a16:creationId xmlns:a16="http://schemas.microsoft.com/office/drawing/2014/main" id="{5BCD3E4E-188B-4795-BFEF-2E97AE3CF8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0AB59A-982F-E07C-BD45-8D91E7AC79FA}"/>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FF27272-3B68-EF42-2988-7B3AC651878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E7BCFC16-AA3F-0CB5-7C68-778170EF6ED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E1436D6-6527-EAE8-1703-202DF06CF97E}"/>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2023F3B7-099D-D803-9C34-D16C91E8AF5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430525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42" descr="A person stands next to a horse&#10;&#10;Description automatically generated with medium confidence">
            <a:extLst>
              <a:ext uri="{FF2B5EF4-FFF2-40B4-BE49-F238E27FC236}">
                <a16:creationId xmlns:a16="http://schemas.microsoft.com/office/drawing/2014/main" id="{FC6D0D84-00D1-4A8B-9C12-4DD55673B0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Tree>
    <p:extLst>
      <p:ext uri="{BB962C8B-B14F-4D97-AF65-F5344CB8AC3E}">
        <p14:creationId xmlns:p14="http://schemas.microsoft.com/office/powerpoint/2010/main" val="23716109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7">
            <a:extLst>
              <a:ext uri="{FF2B5EF4-FFF2-40B4-BE49-F238E27FC236}">
                <a16:creationId xmlns:a16="http://schemas.microsoft.com/office/drawing/2014/main" id="{5A6E0A02-9478-4350-A40E-F036FFA0C8C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1878" y="-290391"/>
            <a:ext cx="4732119" cy="4732119"/>
          </a:xfrm>
          <a:prstGeom prst="ellipse">
            <a:avLst/>
          </a:prstGeom>
          <a:ln>
            <a:noFill/>
          </a:ln>
        </p:spPr>
      </p:pic>
      <p:sp>
        <p:nvSpPr>
          <p:cNvPr id="2" name="Slide Number Placeholder 1">
            <a:extLst>
              <a:ext uri="{FF2B5EF4-FFF2-40B4-BE49-F238E27FC236}">
                <a16:creationId xmlns:a16="http://schemas.microsoft.com/office/drawing/2014/main" id="{6694FAAD-C556-001E-E40C-58E3CEBB4C5A}"/>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541074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7" name="Picture Placeholder 37" descr="A person wearing a garment&#10;&#10;Description automatically generated with low confidence">
            <a:extLst>
              <a:ext uri="{FF2B5EF4-FFF2-40B4-BE49-F238E27FC236}">
                <a16:creationId xmlns:a16="http://schemas.microsoft.com/office/drawing/2014/main" id="{6B3B84B2-BAE5-4993-9656-323A4F0FD2B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242" y="-281681"/>
            <a:ext cx="4732119" cy="4732119"/>
          </a:xfrm>
          <a:prstGeom prst="ellipse">
            <a:avLst/>
          </a:prstGeom>
          <a:ln>
            <a:noFill/>
          </a:ln>
        </p:spPr>
      </p:pic>
      <p:sp>
        <p:nvSpPr>
          <p:cNvPr id="2" name="Slide Number Placeholder 1">
            <a:extLst>
              <a:ext uri="{FF2B5EF4-FFF2-40B4-BE49-F238E27FC236}">
                <a16:creationId xmlns:a16="http://schemas.microsoft.com/office/drawing/2014/main" id="{020C5675-ED9D-59A2-791A-52359370835E}"/>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39221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32" descr="A picture containing person, trouser&#10;&#10;Description automatically generated">
            <a:extLst>
              <a:ext uri="{FF2B5EF4-FFF2-40B4-BE49-F238E27FC236}">
                <a16:creationId xmlns:a16="http://schemas.microsoft.com/office/drawing/2014/main" id="{AAE251DD-C72A-4799-894C-96C6CF0B18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33154" y="-282556"/>
            <a:ext cx="4732119" cy="4732119"/>
          </a:xfrm>
          <a:prstGeom prst="ellipse">
            <a:avLst/>
          </a:prstGeom>
          <a:ln>
            <a:noFill/>
          </a:ln>
        </p:spPr>
      </p:pic>
      <p:sp>
        <p:nvSpPr>
          <p:cNvPr id="2" name="Slide Number Placeholder 1">
            <a:extLst>
              <a:ext uri="{FF2B5EF4-FFF2-40B4-BE49-F238E27FC236}">
                <a16:creationId xmlns:a16="http://schemas.microsoft.com/office/drawing/2014/main" id="{F5D94243-15A8-7AEE-79AA-93448940185B}"/>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096743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5">
            <a:extLst>
              <a:ext uri="{FF2B5EF4-FFF2-40B4-BE49-F238E27FC236}">
                <a16:creationId xmlns:a16="http://schemas.microsoft.com/office/drawing/2014/main" id="{1C2CC4FD-AA5C-43E0-8F84-43747160738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4495" y="-294381"/>
            <a:ext cx="4732119" cy="4732119"/>
          </a:xfrm>
          <a:prstGeom prst="ellipse">
            <a:avLst/>
          </a:prstGeom>
          <a:ln>
            <a:noFill/>
          </a:ln>
        </p:spPr>
      </p:pic>
    </p:spTree>
    <p:extLst>
      <p:ext uri="{BB962C8B-B14F-4D97-AF65-F5344CB8AC3E}">
        <p14:creationId xmlns:p14="http://schemas.microsoft.com/office/powerpoint/2010/main" val="30781160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9">
            <a:extLst>
              <a:ext uri="{FF2B5EF4-FFF2-40B4-BE49-F238E27FC236}">
                <a16:creationId xmlns:a16="http://schemas.microsoft.com/office/drawing/2014/main" id="{5E0BD08A-6854-4CC0-B24F-F237076F3CB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26ED8A23-984B-CDC4-3D1B-B8A4C6FCD6C6}"/>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8900499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0">
            <a:extLst>
              <a:ext uri="{FF2B5EF4-FFF2-40B4-BE49-F238E27FC236}">
                <a16:creationId xmlns:a16="http://schemas.microsoft.com/office/drawing/2014/main" id="{B8DDE6F2-9F9B-41F2-B2A3-6DC9E6FA128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1CEF1D07-E412-F65F-0EA3-05B0319DD5AF}"/>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1381270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4">
            <a:extLst>
              <a:ext uri="{FF2B5EF4-FFF2-40B4-BE49-F238E27FC236}">
                <a16:creationId xmlns:a16="http://schemas.microsoft.com/office/drawing/2014/main" id="{78B21EA6-36D0-435A-9C96-0841F750FB0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
        <p:nvSpPr>
          <p:cNvPr id="2" name="Slide Number Placeholder 1">
            <a:extLst>
              <a:ext uri="{FF2B5EF4-FFF2-40B4-BE49-F238E27FC236}">
                <a16:creationId xmlns:a16="http://schemas.microsoft.com/office/drawing/2014/main" id="{902B23BB-241E-AC65-F72B-7CA618AC0F09}"/>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096902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chapter tit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5" descr="A picture containing text, clipart&#10;&#10;Description automatically generated">
            <a:extLst>
              <a:ext uri="{FF2B5EF4-FFF2-40B4-BE49-F238E27FC236}">
                <a16:creationId xmlns:a16="http://schemas.microsoft.com/office/drawing/2014/main" id="{D50915DD-5EE5-49E3-8AC8-C442BCE6948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8828" y="-299292"/>
            <a:ext cx="4732119" cy="4732119"/>
          </a:xfrm>
          <a:prstGeom prst="ellipse">
            <a:avLst/>
          </a:prstGeom>
          <a:ln>
            <a:noFill/>
          </a:ln>
        </p:spPr>
      </p:pic>
    </p:spTree>
    <p:extLst>
      <p:ext uri="{BB962C8B-B14F-4D97-AF65-F5344CB8AC3E}">
        <p14:creationId xmlns:p14="http://schemas.microsoft.com/office/powerpoint/2010/main" val="7077917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7">
            <a:extLst>
              <a:ext uri="{FF2B5EF4-FFF2-40B4-BE49-F238E27FC236}">
                <a16:creationId xmlns:a16="http://schemas.microsoft.com/office/drawing/2014/main" id="{4CDEE063-EA26-468A-AFDA-44D797D69B8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6214" y="-288031"/>
            <a:ext cx="4732119" cy="4732119"/>
          </a:xfrm>
          <a:prstGeom prst="ellipse">
            <a:avLst/>
          </a:prstGeom>
          <a:ln>
            <a:noFill/>
          </a:ln>
        </p:spPr>
      </p:pic>
      <p:sp>
        <p:nvSpPr>
          <p:cNvPr id="2" name="Slide Number Placeholder 1">
            <a:extLst>
              <a:ext uri="{FF2B5EF4-FFF2-40B4-BE49-F238E27FC236}">
                <a16:creationId xmlns:a16="http://schemas.microsoft.com/office/drawing/2014/main" id="{8BD84C4F-57F6-FD42-564B-1388832FE2C7}"/>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328022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ASHPAGE AS 1">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79C00F28-B628-41DD-8234-BA7516F71C92}"/>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1" name="Group 10">
            <a:extLst>
              <a:ext uri="{FF2B5EF4-FFF2-40B4-BE49-F238E27FC236}">
                <a16:creationId xmlns:a16="http://schemas.microsoft.com/office/drawing/2014/main" id="{F2F3D023-E23A-4E03-84C8-69F0966B73B0}"/>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2B8030D7-615E-4293-82C1-DE20FE117CE4}"/>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CCD9D61-099D-45E0-99F3-8F5C167D7FE7}"/>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659F2B10-1E06-40C6-9E26-2720F4D5D99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BBF4286-8421-44F4-AEC4-5077219CFB77}"/>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EFED5782-2621-4512-8A45-DE47726246A5}"/>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F583398-3426-42D1-815C-310F9ABFE4B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0BE6341-C3C8-4F53-963D-F29934F22E3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619D7686-861A-4A07-84AC-8988F0884144}"/>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08D9A70A-59D0-46D3-9D08-3634FD7F1703}"/>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1" name="Circle: Hollow 20">
              <a:extLst>
                <a:ext uri="{FF2B5EF4-FFF2-40B4-BE49-F238E27FC236}">
                  <a16:creationId xmlns:a16="http://schemas.microsoft.com/office/drawing/2014/main" id="{84BDDEE6-33B5-4006-8C17-BDB035DD01AD}"/>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Oval 21">
              <a:extLst>
                <a:ext uri="{FF2B5EF4-FFF2-40B4-BE49-F238E27FC236}">
                  <a16:creationId xmlns:a16="http://schemas.microsoft.com/office/drawing/2014/main" id="{F358D785-F1B4-4DD5-94EB-3235FA7F6875}"/>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08EE7F6-076F-4D93-AD7D-A61B733B7E0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BEFA4C30-62D4-477A-A6DB-02750BA0A1F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CA33E31B-D6EC-4253-8C29-24EE33940D2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Circle: Hollow 25">
              <a:extLst>
                <a:ext uri="{FF2B5EF4-FFF2-40B4-BE49-F238E27FC236}">
                  <a16:creationId xmlns:a16="http://schemas.microsoft.com/office/drawing/2014/main" id="{D738AF29-7576-4D48-8709-6DA0929506F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733DC169-90EC-4BF0-B7DD-90E78BF8F2B8}"/>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148F100-A352-4849-B456-2937885CCB9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40FF2B-C7CD-4698-9697-56EE132D71DD}"/>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062772A6-E0A1-4381-BAA9-90C0927A948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7156ED00-4FAC-431E-AC3B-E27166E85A3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6347B9F0-2CDB-42E7-9878-B83E2E90BF2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E949F0D-B1E8-4F39-AF33-CE1331BCAAB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C686CBE-7764-4AC6-B24B-45A23BFD3EE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C1C87805-910C-413A-95AE-5BFF2867812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6" name="Oval 35">
              <a:extLst>
                <a:ext uri="{FF2B5EF4-FFF2-40B4-BE49-F238E27FC236}">
                  <a16:creationId xmlns:a16="http://schemas.microsoft.com/office/drawing/2014/main" id="{A44C93A3-C08C-484B-A04F-47F7D5DF5A1F}"/>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E0F4B9F9-B2D4-44BA-B93F-BDB266263FF3}"/>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0441CCC0-63A0-4E6C-A75C-E7C19ACD7D82}"/>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E5369-3494-44C3-AD82-73F7F55558A2}"/>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1675B0AF-342F-4567-AF36-EE408405D012}"/>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B70EB615-D6DD-4F90-BB25-13D4183CB92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2" name="Oval 41">
              <a:extLst>
                <a:ext uri="{FF2B5EF4-FFF2-40B4-BE49-F238E27FC236}">
                  <a16:creationId xmlns:a16="http://schemas.microsoft.com/office/drawing/2014/main" id="{10635603-06E9-47E7-A4B4-9338D68F6BD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2FDEA22-6AB8-4599-8BF8-939E903AD06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DF884DE7-D691-4DC8-840F-9AC707FABEA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9B360CA-B082-4DB8-B91D-7F27636A9410}"/>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C21C763-24B4-43A8-8E34-E475A34FE82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9FC415E4-06EB-4B1F-98A5-3EAC7E701239}"/>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7C7325B8-C8BD-4107-A7B6-DB468D0781E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42CFF533-113C-454B-BA3B-D668F5DB6C42}"/>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229653B6-1785-4649-8F48-97DE2B192C9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CC889914-18C6-4DE7-8EC2-F62CB29F205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Circle: Hollow 51">
              <a:extLst>
                <a:ext uri="{FF2B5EF4-FFF2-40B4-BE49-F238E27FC236}">
                  <a16:creationId xmlns:a16="http://schemas.microsoft.com/office/drawing/2014/main" id="{AFAB4A5F-1A4C-4048-9DC6-697664180D6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3" name="Circle: Hollow 52">
              <a:extLst>
                <a:ext uri="{FF2B5EF4-FFF2-40B4-BE49-F238E27FC236}">
                  <a16:creationId xmlns:a16="http://schemas.microsoft.com/office/drawing/2014/main" id="{70CA7F9B-063D-46CC-86B7-A13247F54CF1}"/>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173A5332-604C-2B59-5144-AA9C2199535B}"/>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5C1EFA21-BC10-2786-CC43-5CF7533353C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45916BA-E4DA-AD0D-6D8C-0BF33AF6412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669578F1-2F79-9D0D-8EB1-67C1B692FA85}"/>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D36F742-708A-4B31-CEDB-0AB6F41B93F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037249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a:extLst>
              <a:ext uri="{FF2B5EF4-FFF2-40B4-BE49-F238E27FC236}">
                <a16:creationId xmlns:a16="http://schemas.microsoft.com/office/drawing/2014/main" id="{77E1F9EE-A329-483E-8900-3AECA7CA9EF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B626891B-C4F0-FF22-6E61-202271B5314F}"/>
              </a:ext>
            </a:extLst>
          </p:cNvPr>
          <p:cNvSpPr>
            <a:spLocks noGrp="1"/>
          </p:cNvSpPr>
          <p:nvPr>
            <p:ph type="sldNum" sz="quarter" idx="10"/>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009040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ANSITION PAGE 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Picture 13" descr="Shape, circle&#10;&#10;Description automatically generated">
            <a:extLst>
              <a:ext uri="{FF2B5EF4-FFF2-40B4-BE49-F238E27FC236}">
                <a16:creationId xmlns:a16="http://schemas.microsoft.com/office/drawing/2014/main" id="{6FD64248-CA7C-43DF-8841-6CBDF67BBA6D}"/>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3" name="Oval 12">
            <a:extLst>
              <a:ext uri="{FF2B5EF4-FFF2-40B4-BE49-F238E27FC236}">
                <a16:creationId xmlns:a16="http://schemas.microsoft.com/office/drawing/2014/main" id="{937CCF2B-AE90-4BCD-9D59-A4373A3ACC6D}"/>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chemeClr val="tx1">
              <a:lumMod val="50000"/>
              <a:lumOff val="5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chemeClr val="tx1">
                  <a:lumMod val="50000"/>
                  <a:lumOff val="50000"/>
                  <a:alpha val="69000"/>
                </a:schemeClr>
              </a:gs>
              <a:gs pos="63000">
                <a:schemeClr val="bg1">
                  <a:lumMod val="65000"/>
                  <a:alpha val="4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14" descr="Shape, circle&#10;&#10;Description automatically generated">
            <a:extLst>
              <a:ext uri="{FF2B5EF4-FFF2-40B4-BE49-F238E27FC236}">
                <a16:creationId xmlns:a16="http://schemas.microsoft.com/office/drawing/2014/main" id="{FE98D32E-5A0E-479F-82DC-AD357EC1263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sp>
        <p:nvSpPr>
          <p:cNvPr id="16" name="Title Placeholder 1">
            <a:extLst>
              <a:ext uri="{FF2B5EF4-FFF2-40B4-BE49-F238E27FC236}">
                <a16:creationId xmlns:a16="http://schemas.microsoft.com/office/drawing/2014/main" id="{A553C083-E55A-4094-8B49-FECA80473FB9}"/>
              </a:ext>
            </a:extLst>
          </p:cNvPr>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12" name="Picture Placeholder 2">
            <a:extLst>
              <a:ext uri="{FF2B5EF4-FFF2-40B4-BE49-F238E27FC236}">
                <a16:creationId xmlns:a16="http://schemas.microsoft.com/office/drawing/2014/main" id="{DE30343A-8BB0-43F9-922D-7031CC16589B}"/>
              </a:ext>
            </a:extLst>
          </p:cNvPr>
          <p:cNvSpPr>
            <a:spLocks noGrp="1" noChangeAspect="1"/>
          </p:cNvSpPr>
          <p:nvPr>
            <p:ph type="pic" sz="quarter" idx="10"/>
          </p:nvPr>
        </p:nvSpPr>
        <p:spPr>
          <a:xfrm>
            <a:off x="-271254" y="-294381"/>
            <a:ext cx="4732119" cy="4732119"/>
          </a:xfrm>
          <a:prstGeom prst="ellipse">
            <a:avLst/>
          </a:prstGeom>
          <a:ln>
            <a:noFill/>
          </a:ln>
        </p:spPr>
        <p:txBody>
          <a:bodyPr/>
          <a:lstStyle/>
          <a:p>
            <a:endParaRPr lang="nl-NL" dirty="0"/>
          </a:p>
        </p:txBody>
      </p:sp>
      <p:sp>
        <p:nvSpPr>
          <p:cNvPr id="2" name="Slide Number Placeholder 1">
            <a:extLst>
              <a:ext uri="{FF2B5EF4-FFF2-40B4-BE49-F238E27FC236}">
                <a16:creationId xmlns:a16="http://schemas.microsoft.com/office/drawing/2014/main" id="{F52ACB85-5F95-530F-7F98-33C1D553DE09}"/>
              </a:ext>
            </a:extLst>
          </p:cNvPr>
          <p:cNvSpPr>
            <a:spLocks noGrp="1"/>
          </p:cNvSpPr>
          <p:nvPr>
            <p:ph type="sldNum" sz="quarter" idx="11"/>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576235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AGE NO IM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5F0F26E2-6984-497F-8C8D-A3D6BEA48D1F}"/>
              </a:ext>
            </a:extLst>
          </p:cNvPr>
          <p:cNvSpPr>
            <a:spLocks noChangeAspect="1"/>
          </p:cNvSpPr>
          <p:nvPr userDrawn="1"/>
        </p:nvSpPr>
        <p:spPr>
          <a:xfrm>
            <a:off x="9805968" y="3941728"/>
            <a:ext cx="1397331" cy="1383857"/>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Circle: Hollow 22">
            <a:extLst>
              <a:ext uri="{FF2B5EF4-FFF2-40B4-BE49-F238E27FC236}">
                <a16:creationId xmlns:a16="http://schemas.microsoft.com/office/drawing/2014/main" id="{5A7EBCD1-E692-4D90-ACF4-D8EE45581A6E}"/>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170B96ED-B0F5-471C-B4A4-CA83B23B03F9}"/>
              </a:ext>
            </a:extLst>
          </p:cNvPr>
          <p:cNvSpPr>
            <a:spLocks noChangeAspect="1"/>
          </p:cNvSpPr>
          <p:nvPr userDrawn="1"/>
        </p:nvSpPr>
        <p:spPr>
          <a:xfrm>
            <a:off x="9034255" y="4793407"/>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F71F4BA5-F1C8-464D-A35E-C600990EED94}"/>
              </a:ext>
            </a:extLst>
          </p:cNvPr>
          <p:cNvSpPr>
            <a:spLocks noChangeAspect="1"/>
          </p:cNvSpPr>
          <p:nvPr userDrawn="1"/>
        </p:nvSpPr>
        <p:spPr>
          <a:xfrm>
            <a:off x="9447509" y="5325585"/>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CD65B6EF-40AB-0848-A310-F92F5854F7E7}"/>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5B73281A-F13D-4ACD-E808-457C8297DE5D}"/>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4" name="Slide Number Placeholder 3">
            <a:extLst>
              <a:ext uri="{FF2B5EF4-FFF2-40B4-BE49-F238E27FC236}">
                <a16:creationId xmlns:a16="http://schemas.microsoft.com/office/drawing/2014/main" id="{BD7F1694-7EE8-2A17-9795-81B06C25DF36}"/>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19973917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AGE NO IMAG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51863DD1-61D7-A8C0-4743-A27221093B2B}"/>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6C592046-1FC5-5131-BA70-2DFA7B9AC80E}"/>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4" name="Slide Number Placeholder 3">
            <a:extLst>
              <a:ext uri="{FF2B5EF4-FFF2-40B4-BE49-F238E27FC236}">
                <a16:creationId xmlns:a16="http://schemas.microsoft.com/office/drawing/2014/main" id="{75BFCA33-7768-BE6A-7593-456240C10343}"/>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070187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NO IMAG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9E2A2B44-FAD8-7DA3-921C-BD17059B3701}"/>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21836720-11CF-F9C7-44CF-67C9EA64D7A2}"/>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4" name="Slide Number Placeholder 3">
            <a:extLst>
              <a:ext uri="{FF2B5EF4-FFF2-40B4-BE49-F238E27FC236}">
                <a16:creationId xmlns:a16="http://schemas.microsoft.com/office/drawing/2014/main" id="{EAEED896-2B9B-D0D8-CB9F-35FCA574CDB2}"/>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5971552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NO IMAG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23EE819-298B-AB96-D0A8-4B5E2EDD87B4}"/>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62C45AA-710D-1486-5094-D19ABD237CF1}"/>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14415265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NO IMAGE 5">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0E3E2DAF-B75F-91AC-D361-C5B4456BAE3A}"/>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ED97271C-D8CF-8FB4-D8E3-235BCCD7F68F}"/>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489306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AGE NO IMAGE 6">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4E573A9-92F0-47BF-FAD3-C6B8BCFBF43D}"/>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6B9E501-4F00-C841-8024-B9429ECFD087}"/>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157892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AGE GRAPHIC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6" name="Picture 5" descr="Shape, circle&#10;&#10;Description automatically generated">
            <a:extLst>
              <a:ext uri="{FF2B5EF4-FFF2-40B4-BE49-F238E27FC236}">
                <a16:creationId xmlns:a16="http://schemas.microsoft.com/office/drawing/2014/main" id="{9B4A9C0C-8128-4278-8F17-3A28A9BE9B5A}"/>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 name="Text Placeholder 4">
            <a:extLst>
              <a:ext uri="{FF2B5EF4-FFF2-40B4-BE49-F238E27FC236}">
                <a16:creationId xmlns:a16="http://schemas.microsoft.com/office/drawing/2014/main" id="{135530B2-AADB-260C-FAB6-B18813118DA1}"/>
              </a:ext>
            </a:extLst>
          </p:cNvPr>
          <p:cNvSpPr>
            <a:spLocks noGrp="1"/>
          </p:cNvSpPr>
          <p:nvPr>
            <p:ph type="body" sz="quarter" idx="11"/>
          </p:nvPr>
        </p:nvSpPr>
        <p:spPr>
          <a:xfrm>
            <a:off x="320220" y="1222391"/>
            <a:ext cx="727817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CD6E51D-83E2-0901-4632-48EEDACF1084}"/>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2015815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AGE GRAPHIC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6" name="Picture 5" descr="Shape, circle&#10;&#10;Description automatically generated">
            <a:extLst>
              <a:ext uri="{FF2B5EF4-FFF2-40B4-BE49-F238E27FC236}">
                <a16:creationId xmlns:a16="http://schemas.microsoft.com/office/drawing/2014/main" id="{234D69AB-77EA-4E18-ABFF-964A352897F8}"/>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5CFE35A0-167E-F21C-2784-BE2EEEAEE4D9}"/>
              </a:ext>
            </a:extLst>
          </p:cNvPr>
          <p:cNvSpPr>
            <a:spLocks noGrp="1"/>
          </p:cNvSpPr>
          <p:nvPr>
            <p:ph type="body" sz="quarter" idx="11"/>
          </p:nvPr>
        </p:nvSpPr>
        <p:spPr>
          <a:xfrm>
            <a:off x="4819649" y="1205999"/>
            <a:ext cx="7093565"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25A8ADA-BE84-E32A-7E41-F9C0D4F92DB7}"/>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743163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ASHPAGE AS 2">
    <p:bg>
      <p:bgPr>
        <a:solidFill>
          <a:schemeClr val="bg1"/>
        </a:solidFill>
        <a:effectLst/>
      </p:bgPr>
    </p:bg>
    <p:spTree>
      <p:nvGrpSpPr>
        <p:cNvPr id="1" name=""/>
        <p:cNvGrpSpPr/>
        <p:nvPr/>
      </p:nvGrpSpPr>
      <p:grpSpPr>
        <a:xfrm>
          <a:off x="0" y="0"/>
          <a:ext cx="0" cy="0"/>
          <a:chOff x="0" y="0"/>
          <a:chExt cx="0" cy="0"/>
        </a:xfrm>
      </p:grpSpPr>
      <p:pic>
        <p:nvPicPr>
          <p:cNvPr id="1034" name="Picture 10">
            <a:extLst>
              <a:ext uri="{FF2B5EF4-FFF2-40B4-BE49-F238E27FC236}">
                <a16:creationId xmlns:a16="http://schemas.microsoft.com/office/drawing/2014/main" id="{BD4363AE-205A-4819-9F31-7F4B9BB04420}"/>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3" name="Group 12">
            <a:extLst>
              <a:ext uri="{FF2B5EF4-FFF2-40B4-BE49-F238E27FC236}">
                <a16:creationId xmlns:a16="http://schemas.microsoft.com/office/drawing/2014/main" id="{FB80E6E3-50FB-46B8-AD03-DCC07D5F9F1E}"/>
              </a:ext>
            </a:extLst>
          </p:cNvPr>
          <p:cNvGrpSpPr/>
          <p:nvPr userDrawn="1"/>
        </p:nvGrpSpPr>
        <p:grpSpPr>
          <a:xfrm>
            <a:off x="6073832" y="268219"/>
            <a:ext cx="5836821" cy="5088756"/>
            <a:chOff x="5836362" y="68074"/>
            <a:chExt cx="6083274" cy="5355263"/>
          </a:xfrm>
        </p:grpSpPr>
        <p:sp>
          <p:nvSpPr>
            <p:cNvPr id="14" name="Oval 13">
              <a:extLst>
                <a:ext uri="{FF2B5EF4-FFF2-40B4-BE49-F238E27FC236}">
                  <a16:creationId xmlns:a16="http://schemas.microsoft.com/office/drawing/2014/main" id="{39936F59-E4A5-4FB7-BC48-4531FE3120EE}"/>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8CAC6223-6465-4B73-B076-732D2542BB9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Circle: Hollow 15">
              <a:extLst>
                <a:ext uri="{FF2B5EF4-FFF2-40B4-BE49-F238E27FC236}">
                  <a16:creationId xmlns:a16="http://schemas.microsoft.com/office/drawing/2014/main" id="{09A64407-DA70-426D-9DE9-893E4C2C55B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Oval 16">
              <a:extLst>
                <a:ext uri="{FF2B5EF4-FFF2-40B4-BE49-F238E27FC236}">
                  <a16:creationId xmlns:a16="http://schemas.microsoft.com/office/drawing/2014/main" id="{B9135213-2D18-4C9E-8A5A-E3648F009848}"/>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01C6B40-0608-45DE-9D3E-CCD296A86806}"/>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EE097154-4802-4956-94E4-73576F79F337}"/>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E07354F7-D16A-41DB-8123-E6BD66208B8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30E5860-2384-4691-A332-336D14B77538}"/>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78D9816B-4A28-449A-ADA9-D558D0CB407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3" name="Circle: Hollow 22">
              <a:extLst>
                <a:ext uri="{FF2B5EF4-FFF2-40B4-BE49-F238E27FC236}">
                  <a16:creationId xmlns:a16="http://schemas.microsoft.com/office/drawing/2014/main" id="{AFD0F331-48F6-436C-9A37-F51AC87A80F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FE248FA4-8FB4-467B-BB2C-7C67EFD0B1C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AD3EC2D2-43E2-401F-852E-D345530D7C9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3B85795-F1B1-4510-9132-9D4DFBF2E855}"/>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Oval 26">
              <a:extLst>
                <a:ext uri="{FF2B5EF4-FFF2-40B4-BE49-F238E27FC236}">
                  <a16:creationId xmlns:a16="http://schemas.microsoft.com/office/drawing/2014/main" id="{D8C9B3BC-CA00-4779-B18A-D72E3C812C1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Circle: Hollow 27">
              <a:extLst>
                <a:ext uri="{FF2B5EF4-FFF2-40B4-BE49-F238E27FC236}">
                  <a16:creationId xmlns:a16="http://schemas.microsoft.com/office/drawing/2014/main" id="{6BF1DDA1-7E8F-4038-AA49-AEF5F3EB2046}"/>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9" name="Oval 28">
              <a:extLst>
                <a:ext uri="{FF2B5EF4-FFF2-40B4-BE49-F238E27FC236}">
                  <a16:creationId xmlns:a16="http://schemas.microsoft.com/office/drawing/2014/main" id="{CC9C9628-975D-44E1-B4E9-B9C1E06BAD7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7AB84A7-C46E-45A6-A3A2-8C6B3F0763A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3FD32A33-F548-4165-B771-B22BA770B3C5}"/>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F49CFC8-0A0A-478C-AE8F-7FE9913520A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36B006-A498-49BC-8B0A-B04BE0FC8E6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EBB3FFC-F938-466A-AB4F-C64A8E768DE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A7A245F7-C427-44A3-8AA8-C01FF2D6E806}"/>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0079C50A-77F3-4841-A27A-56720E450F82}"/>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48D491-0B4D-4801-AE29-672EF1331DB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8" name="Oval 37">
              <a:extLst>
                <a:ext uri="{FF2B5EF4-FFF2-40B4-BE49-F238E27FC236}">
                  <a16:creationId xmlns:a16="http://schemas.microsoft.com/office/drawing/2014/main" id="{8310ABB2-8829-4081-954C-060F795C620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A1BF5D2-17DB-4295-8864-BD6F8D834B1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626B1BD-8353-473E-A336-1B2C3789D045}"/>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63F954E1-B24D-4548-ADC7-5FC3AE57394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863F5DAF-F9FC-47E9-8231-BC562926E658}"/>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CF12651-1CFD-4D64-A02D-7BDA3B137870}"/>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4" name="Oval 43">
              <a:extLst>
                <a:ext uri="{FF2B5EF4-FFF2-40B4-BE49-F238E27FC236}">
                  <a16:creationId xmlns:a16="http://schemas.microsoft.com/office/drawing/2014/main" id="{B80B87C1-F227-462F-8141-B0F5FA70BD0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1A8BD0D-0305-4A56-9205-DC3A60093B9E}"/>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2487647-FE03-4EFA-8362-CB3F6587751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A7DB594D-AACD-4ED5-8C10-D459DE7E823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8063840-D79F-4781-9CBA-3A1EE0A309B6}"/>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29F05C63-EFD7-4553-929F-B4959C647E1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7EC30B2-403C-4C56-8374-3C7B667F8B1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69CA3825-947B-4D5C-A285-B4B4B4DD319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90EC4918-17F4-4239-B224-FB846D2A2E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402975C8-1248-4552-8C21-C14E89D62A4F}"/>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9484B860-5E7E-4B39-A421-8407DBF1A864}"/>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5" name="Circle: Hollow 54">
              <a:extLst>
                <a:ext uri="{FF2B5EF4-FFF2-40B4-BE49-F238E27FC236}">
                  <a16:creationId xmlns:a16="http://schemas.microsoft.com/office/drawing/2014/main" id="{97F2434B-BDBA-423B-B5E9-09CAE81FD81E}"/>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0F9BDD3-6959-C843-EEBF-F9CB44ADFB5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88ECE77C-0C9B-D878-7926-EDBBEBAEC10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735DE826-6200-FAAD-B4DA-04BE74BAADB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F70C7C7-10D4-0C4F-ED9F-51E4E2665429}"/>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AE1E5FB2-8FC5-81F6-C112-25DA4F580CE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69672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PAGE GRAPHIC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6" name="Picture 5" descr="Shape, circle&#10;&#10;Description automatically generated">
            <a:extLst>
              <a:ext uri="{FF2B5EF4-FFF2-40B4-BE49-F238E27FC236}">
                <a16:creationId xmlns:a16="http://schemas.microsoft.com/office/drawing/2014/main" id="{4F2927DF-669F-41E1-8C02-02B43DD1EC37}"/>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rot="5400000">
            <a:off x="8091044" y="460008"/>
            <a:ext cx="4583981" cy="3617930"/>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80BA1CF4-6F67-7108-9841-5C30CDC7C1C4}"/>
              </a:ext>
            </a:extLst>
          </p:cNvPr>
          <p:cNvSpPr>
            <a:spLocks noGrp="1"/>
          </p:cNvSpPr>
          <p:nvPr>
            <p:ph type="body" sz="quarter" idx="11"/>
          </p:nvPr>
        </p:nvSpPr>
        <p:spPr>
          <a:xfrm>
            <a:off x="320220" y="1222391"/>
            <a:ext cx="851898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4D958CD-FBF0-2A2D-96D2-1DBAADD51C2A}"/>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6368656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2" name="Text Placeholder 4">
            <a:extLst>
              <a:ext uri="{FF2B5EF4-FFF2-40B4-BE49-F238E27FC236}">
                <a16:creationId xmlns:a16="http://schemas.microsoft.com/office/drawing/2014/main" id="{1CD8F452-A9A4-90BF-A9D1-44E01C2BF4B1}"/>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9B2084B-9BFC-FCB2-B5A2-6E97DD76A295}"/>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9439449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AGE 2">
    <p:spTree>
      <p:nvGrpSpPr>
        <p:cNvPr id="1" name=""/>
        <p:cNvGrpSpPr/>
        <p:nvPr/>
      </p:nvGrpSpPr>
      <p:grpSpPr>
        <a:xfrm>
          <a:off x="0" y="0"/>
          <a:ext cx="0" cy="0"/>
          <a:chOff x="0" y="0"/>
          <a:chExt cx="0" cy="0"/>
        </a:xfrm>
      </p:grpSpPr>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2" name="Text Placeholder 4">
            <a:extLst>
              <a:ext uri="{FF2B5EF4-FFF2-40B4-BE49-F238E27FC236}">
                <a16:creationId xmlns:a16="http://schemas.microsoft.com/office/drawing/2014/main" id="{9C22D1EB-BC1E-94BA-C864-34654309C6EE}"/>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90E1975-0619-7C19-6DE1-1B86BF3D3245}"/>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4703247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AGE IMAGE RIGHT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074" name="Picture 2">
            <a:extLst>
              <a:ext uri="{FF2B5EF4-FFF2-40B4-BE49-F238E27FC236}">
                <a16:creationId xmlns:a16="http://schemas.microsoft.com/office/drawing/2014/main" id="{F7F2160B-645D-4E1B-B845-460D16D0474A}"/>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8774753" y="3117530"/>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B12FB3F9-D1D0-1A34-CE12-B11A86ACDB0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50F235D-BF0E-9EFE-60DE-EB6892BE783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800641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PAGE IMAGE RIGHT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18">
            <a:extLst>
              <a:ext uri="{FF2B5EF4-FFF2-40B4-BE49-F238E27FC236}">
                <a16:creationId xmlns:a16="http://schemas.microsoft.com/office/drawing/2014/main" id="{1B8F02F8-EEDB-4CCC-9C11-A6782DFAEA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6B98B1F1-4889-85B1-FB39-59E2DA3DF0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78ACD34-166F-CC6F-EE62-926F0C4F31D7}"/>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864567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PAGE IMAGE RIGHT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33">
            <a:extLst>
              <a:ext uri="{FF2B5EF4-FFF2-40B4-BE49-F238E27FC236}">
                <a16:creationId xmlns:a16="http://schemas.microsoft.com/office/drawing/2014/main" id="{67022DBB-02B9-4128-AFCD-1D44975BC07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7846" y="3075746"/>
            <a:ext cx="3128359" cy="3128359"/>
          </a:xfrm>
          <a:prstGeom prst="ellipse">
            <a:avLst/>
          </a:prstGeom>
          <a:ln>
            <a:noFill/>
          </a:ln>
        </p:spPr>
      </p:pic>
      <p:sp>
        <p:nvSpPr>
          <p:cNvPr id="2" name="Text Placeholder 4">
            <a:extLst>
              <a:ext uri="{FF2B5EF4-FFF2-40B4-BE49-F238E27FC236}">
                <a16:creationId xmlns:a16="http://schemas.microsoft.com/office/drawing/2014/main" id="{DE65A6A3-F7CD-BB0C-365E-6F71F25E262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52231987-3ECB-7B41-D6EB-A401DA2F1DA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204698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PAGE IMAGE RIGHT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38">
            <a:extLst>
              <a:ext uri="{FF2B5EF4-FFF2-40B4-BE49-F238E27FC236}">
                <a16:creationId xmlns:a16="http://schemas.microsoft.com/office/drawing/2014/main" id="{5DFCF5F3-7711-4726-AA2B-5F73058D7D1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63046"/>
            <a:ext cx="3128359" cy="3128359"/>
          </a:xfrm>
          <a:prstGeom prst="ellipse">
            <a:avLst/>
          </a:prstGeom>
          <a:ln>
            <a:noFill/>
          </a:ln>
        </p:spPr>
      </p:pic>
      <p:sp>
        <p:nvSpPr>
          <p:cNvPr id="2" name="Text Placeholder 4">
            <a:extLst>
              <a:ext uri="{FF2B5EF4-FFF2-40B4-BE49-F238E27FC236}">
                <a16:creationId xmlns:a16="http://schemas.microsoft.com/office/drawing/2014/main" id="{E9B4775C-A0B8-C29B-11E8-E71571C2994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F9F7FA5-D7B6-5BED-AB16-C9637D4401B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623264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PAGE IMAGE RIGHT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9" name="Picture Placeholder 52" descr="Two women sitting on a ledge&#10;&#10;Description automatically generated with low confidence">
            <a:extLst>
              <a:ext uri="{FF2B5EF4-FFF2-40B4-BE49-F238E27FC236}">
                <a16:creationId xmlns:a16="http://schemas.microsoft.com/office/drawing/2014/main" id="{181CDFF3-3268-4B33-AEE6-4AC936C4DDE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4856" y="3074551"/>
            <a:ext cx="3128359" cy="3139647"/>
          </a:xfrm>
          <a:prstGeom prst="ellipse">
            <a:avLst/>
          </a:prstGeom>
          <a:ln>
            <a:noFill/>
          </a:ln>
        </p:spPr>
      </p:pic>
      <p:sp>
        <p:nvSpPr>
          <p:cNvPr id="2" name="Text Placeholder 4">
            <a:extLst>
              <a:ext uri="{FF2B5EF4-FFF2-40B4-BE49-F238E27FC236}">
                <a16:creationId xmlns:a16="http://schemas.microsoft.com/office/drawing/2014/main" id="{8262C41A-9794-3772-FB7E-F4665A87AC3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F473794-6DE8-3F92-3D09-69ED73229F20}"/>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5961373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PAGE IMAGE RIGHT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43" descr="A picture containing person, standing&#10;&#10;Description automatically generated">
            <a:extLst>
              <a:ext uri="{FF2B5EF4-FFF2-40B4-BE49-F238E27FC236}">
                <a16:creationId xmlns:a16="http://schemas.microsoft.com/office/drawing/2014/main" id="{BA62350B-7699-46E2-AB6F-FE0A3F40300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1878" y="3075096"/>
            <a:ext cx="3128359" cy="3128359"/>
          </a:xfrm>
          <a:prstGeom prst="ellipse">
            <a:avLst/>
          </a:prstGeom>
          <a:ln>
            <a:noFill/>
          </a:ln>
        </p:spPr>
      </p:pic>
      <p:sp>
        <p:nvSpPr>
          <p:cNvPr id="2" name="Text Placeholder 4">
            <a:extLst>
              <a:ext uri="{FF2B5EF4-FFF2-40B4-BE49-F238E27FC236}">
                <a16:creationId xmlns:a16="http://schemas.microsoft.com/office/drawing/2014/main" id="{A8B2DBD2-AF8B-3926-43A0-6292CBA21CF7}"/>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D218822-8D24-BA25-BB99-D942405AF53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6445149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AGE IMAGE RIGHT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38" descr="A group of people posing for the camera&#10;&#10;Description automatically generated">
            <a:extLst>
              <a:ext uri="{FF2B5EF4-FFF2-40B4-BE49-F238E27FC236}">
                <a16:creationId xmlns:a16="http://schemas.microsoft.com/office/drawing/2014/main" id="{C6E6FF14-ED78-422E-B481-6A622439FB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0319" y="3074560"/>
            <a:ext cx="3155207" cy="3137505"/>
          </a:xfrm>
          <a:prstGeom prst="ellipse">
            <a:avLst/>
          </a:prstGeom>
          <a:ln>
            <a:noFill/>
          </a:ln>
        </p:spPr>
      </p:pic>
      <p:sp>
        <p:nvSpPr>
          <p:cNvPr id="2" name="Text Placeholder 4">
            <a:extLst>
              <a:ext uri="{FF2B5EF4-FFF2-40B4-BE49-F238E27FC236}">
                <a16:creationId xmlns:a16="http://schemas.microsoft.com/office/drawing/2014/main" id="{6713541E-7ACB-022D-159B-FE912B2C749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8AD4BC04-9EDD-831C-23E4-98C216508557}"/>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47405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ASHPAGE AS 3">
    <p:bg>
      <p:bgPr>
        <a:solidFill>
          <a:schemeClr val="bg1"/>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F0762832-CA68-4593-A467-AC9D115B363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8264F0AE-C14B-49B4-B2DA-9F7D1027D5B0}"/>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A69F55C0-EC6D-44B3-BB82-E96A09B3420D}"/>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7FCA5E31-9580-496F-9E42-1E6F2E07DAC1}"/>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D9C47CBD-8D33-405D-BC70-B694229714DB}"/>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862EA350-F82E-4D4C-BA13-0794D9500EF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0580316D-5DF0-40B5-A3A6-88A87098D0F4}"/>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64DE458-7348-424D-BA0B-DB2033B3D8D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996E8319-087F-4D1A-AC1D-37C5993747B9}"/>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40D1CC14-1DFE-4C16-809F-B47B5942D5F2}"/>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95C80524-C697-4410-9D7A-6F117A5F4279}"/>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5DDAF0C-3AFC-46BF-9F33-8199FA60A7F0}"/>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90E3AB26-4D87-42FF-97FB-5EE9DF93493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16E59A0E-54D9-484E-BDE9-532798001B17}"/>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902106AF-E792-4E14-9E72-A5BF5585803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7F48818E-1D3B-4F50-8868-77EFFF642D4C}"/>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B06DF11D-511A-44B8-9EA4-538E51C5CF3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A8BCBF9B-A739-486F-AE59-ABE12AE02BB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8E0AB5A-674C-4DE7-93C2-D6BEC62566B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2611CDE5-2616-4304-9622-97E6956492D8}"/>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C2AEE9CC-82AC-42ED-A5E3-1C1FBB598E30}"/>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5B07C61-CA3C-4B06-BB3B-252F04600D15}"/>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31CC1F13-2300-4736-BD4E-CD50123F3405}"/>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BE2B2A1C-13C0-4A0F-AA7F-40CBF328EF6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E0E9E105-E9DF-4541-B2CA-211978A177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9882D4D8-D8CC-400A-A7EB-C0D59FEE4D8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166D34E-8AE8-4558-B308-0690644A3D2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020417FC-C19B-4FF8-AB1B-5739B92BE92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297E7573-727A-400A-9837-0622D2709002}"/>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186FDA2-140B-4619-8E3A-ADE0E4ACC35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916BE292-FFE3-4054-B1F8-459151E35DF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A0C3C8A-737F-48D0-A8E6-F3C2DA9F5C4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2F83213A-1DCA-4D45-B441-286FDD94D27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114399FE-68D5-4F78-94C0-CA2108EBA19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6196BB2-B1EB-4BD8-ACAA-839CF157F03B}"/>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646F30E-3B43-46A7-AC2D-95D5C2C58059}"/>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CA778B9-DC94-4CD3-9E19-72EC312FE49E}"/>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01896B74-8927-4082-B2BA-829CC59DEBD0}"/>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5DB2747-744C-4272-8285-BCDCA1D76FB4}"/>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AEDBC75-BAF7-4810-92F3-73941FCA715F}"/>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47C0EB01-0544-4C72-9B46-42B7697626A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5DF00221-B9A0-4B7D-A3CA-FA773C05FD5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B1828083-BA49-4A75-AE2E-36F0CAD7EBC6}"/>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7C3BBF84-0C85-4B2F-B83D-0B97A4E4B9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EACF7882-0404-49EE-B918-3B315360A18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6B07F70F-93D5-525B-0192-C266AC8F0B55}"/>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41F564AD-24A4-5E0D-7066-B343AEC62FC5}"/>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CC2DBC4-3915-C1D6-728D-1D1EAF2160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6C73E10-8B07-A8C6-4E6A-7B2A915BCCF4}"/>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3FD4AF7-D7FD-3021-3230-41A468BF09EC}"/>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287433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PAGE IMAGE RIGHT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32" descr="A picture containing person, outdoor&#10;&#10;Description automatically generated">
            <a:extLst>
              <a:ext uri="{FF2B5EF4-FFF2-40B4-BE49-F238E27FC236}">
                <a16:creationId xmlns:a16="http://schemas.microsoft.com/office/drawing/2014/main" id="{835F987A-9F04-4897-8887-BD9A3383588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8449" y="3077213"/>
            <a:ext cx="3105809" cy="3126242"/>
          </a:xfrm>
          <a:prstGeom prst="ellipse">
            <a:avLst/>
          </a:prstGeom>
          <a:ln>
            <a:noFill/>
          </a:ln>
        </p:spPr>
      </p:pic>
      <p:sp>
        <p:nvSpPr>
          <p:cNvPr id="2" name="Text Placeholder 4">
            <a:extLst>
              <a:ext uri="{FF2B5EF4-FFF2-40B4-BE49-F238E27FC236}">
                <a16:creationId xmlns:a16="http://schemas.microsoft.com/office/drawing/2014/main" id="{38D523EA-6777-9070-C400-49F313A5B244}"/>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8943357-E2E6-2896-C799-83C00669EFD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3377986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PAGE IMAGE RIGHT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59" descr="A picture containing person, outdoor&#10;&#10;Description automatically generated">
            <a:extLst>
              <a:ext uri="{FF2B5EF4-FFF2-40B4-BE49-F238E27FC236}">
                <a16:creationId xmlns:a16="http://schemas.microsoft.com/office/drawing/2014/main" id="{E525F203-3657-4C12-9D51-52D87FF8034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9794" y="3087698"/>
            <a:ext cx="3128359" cy="3128359"/>
          </a:xfrm>
          <a:prstGeom prst="ellipse">
            <a:avLst/>
          </a:prstGeom>
          <a:ln>
            <a:noFill/>
          </a:ln>
        </p:spPr>
      </p:pic>
      <p:sp>
        <p:nvSpPr>
          <p:cNvPr id="2" name="Text Placeholder 4">
            <a:extLst>
              <a:ext uri="{FF2B5EF4-FFF2-40B4-BE49-F238E27FC236}">
                <a16:creationId xmlns:a16="http://schemas.microsoft.com/office/drawing/2014/main" id="{975AB962-F00B-895F-1C8C-B88F35E38558}"/>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BF27FD7-1A84-3C2E-E26F-23D28C8EF84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7320302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PAGE IMAGE RIGHT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64" descr="A group of people posing for the camera&#10;&#10;Description automatically generated">
            <a:extLst>
              <a:ext uri="{FF2B5EF4-FFF2-40B4-BE49-F238E27FC236}">
                <a16:creationId xmlns:a16="http://schemas.microsoft.com/office/drawing/2014/main" id="{7599E71C-A1DF-4DCA-92C8-644EF5AED2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5569" y="3068198"/>
            <a:ext cx="3128359" cy="3128359"/>
          </a:xfrm>
          <a:prstGeom prst="ellipse">
            <a:avLst/>
          </a:prstGeom>
          <a:ln>
            <a:noFill/>
          </a:ln>
        </p:spPr>
      </p:pic>
      <p:sp>
        <p:nvSpPr>
          <p:cNvPr id="2" name="Text Placeholder 4">
            <a:extLst>
              <a:ext uri="{FF2B5EF4-FFF2-40B4-BE49-F238E27FC236}">
                <a16:creationId xmlns:a16="http://schemas.microsoft.com/office/drawing/2014/main" id="{80CE9229-F1E0-28A2-16AD-55486750A3D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A7BA571-8CA3-D7F9-A3D2-30D5AE860CC8}"/>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4856327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PAGE IMAGE RIGHT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54" descr="A person holding a ball&#10;&#10;Description automatically generated with medium confidence">
            <a:extLst>
              <a:ext uri="{FF2B5EF4-FFF2-40B4-BE49-F238E27FC236}">
                <a16:creationId xmlns:a16="http://schemas.microsoft.com/office/drawing/2014/main" id="{2A1BE4E1-E7A7-41CC-BB61-12289933AD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18629" y="3105203"/>
            <a:ext cx="3128359" cy="3128359"/>
          </a:xfrm>
          <a:prstGeom prst="ellipse">
            <a:avLst/>
          </a:prstGeom>
          <a:ln>
            <a:noFill/>
          </a:ln>
        </p:spPr>
      </p:pic>
      <p:sp>
        <p:nvSpPr>
          <p:cNvPr id="2" name="Text Placeholder 4">
            <a:extLst>
              <a:ext uri="{FF2B5EF4-FFF2-40B4-BE49-F238E27FC236}">
                <a16:creationId xmlns:a16="http://schemas.microsoft.com/office/drawing/2014/main" id="{19BE6254-4B61-1DF4-E7AB-3F7C43ECCB5D}"/>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4676403-9466-503D-014D-0341843639D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211686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PAGE IMAGE RIGHT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50" descr="A group of women sitting together&#10;&#10;Description automatically generated with low confidence">
            <a:extLst>
              <a:ext uri="{FF2B5EF4-FFF2-40B4-BE49-F238E27FC236}">
                <a16:creationId xmlns:a16="http://schemas.microsoft.com/office/drawing/2014/main" id="{C8AE1489-5A68-4025-8F43-98D28E9AC7F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4129"/>
            <a:ext cx="3128359" cy="3128359"/>
          </a:xfrm>
          <a:prstGeom prst="ellipse">
            <a:avLst/>
          </a:prstGeom>
          <a:ln>
            <a:noFill/>
          </a:ln>
        </p:spPr>
      </p:pic>
      <p:sp>
        <p:nvSpPr>
          <p:cNvPr id="2" name="Text Placeholder 4">
            <a:extLst>
              <a:ext uri="{FF2B5EF4-FFF2-40B4-BE49-F238E27FC236}">
                <a16:creationId xmlns:a16="http://schemas.microsoft.com/office/drawing/2014/main" id="{59CD2144-5116-9F0A-AAA2-AB039B19D2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EB67BEF-5DBF-9F4F-FF62-FE6793EE271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8484352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PAGE IMAGE RIGHT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225">
            <a:extLst>
              <a:ext uri="{FF2B5EF4-FFF2-40B4-BE49-F238E27FC236}">
                <a16:creationId xmlns:a16="http://schemas.microsoft.com/office/drawing/2014/main" id="{10BC53BA-5DCA-4E4D-A6B7-9F020B472F9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4218" y="3075746"/>
            <a:ext cx="3128359" cy="3128359"/>
          </a:xfrm>
          <a:prstGeom prst="ellipse">
            <a:avLst/>
          </a:prstGeom>
          <a:ln>
            <a:noFill/>
          </a:ln>
        </p:spPr>
      </p:pic>
      <p:sp>
        <p:nvSpPr>
          <p:cNvPr id="2" name="Text Placeholder 4">
            <a:extLst>
              <a:ext uri="{FF2B5EF4-FFF2-40B4-BE49-F238E27FC236}">
                <a16:creationId xmlns:a16="http://schemas.microsoft.com/office/drawing/2014/main" id="{3B52B6B6-4D22-C648-26D4-35A6E1967089}"/>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8208CFD-90F7-067C-C0DF-E2AEBF3C125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1713738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PAGE IMAGE RIGHT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230">
            <a:extLst>
              <a:ext uri="{FF2B5EF4-FFF2-40B4-BE49-F238E27FC236}">
                <a16:creationId xmlns:a16="http://schemas.microsoft.com/office/drawing/2014/main" id="{EFEBBFFA-F6D0-4A08-878C-687BE3AFF5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2156" y="3087220"/>
            <a:ext cx="3128359" cy="3128359"/>
          </a:xfrm>
          <a:prstGeom prst="ellipse">
            <a:avLst/>
          </a:prstGeom>
          <a:ln>
            <a:noFill/>
          </a:ln>
        </p:spPr>
      </p:pic>
      <p:sp>
        <p:nvSpPr>
          <p:cNvPr id="2" name="Text Placeholder 4">
            <a:extLst>
              <a:ext uri="{FF2B5EF4-FFF2-40B4-BE49-F238E27FC236}">
                <a16:creationId xmlns:a16="http://schemas.microsoft.com/office/drawing/2014/main" id="{8F1C73E6-6A7C-964A-7416-3494B862415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BEB0B79-CB78-C245-0F7B-511B2F2B795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705876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AGE IMAGE RIGHT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239">
            <a:extLst>
              <a:ext uri="{FF2B5EF4-FFF2-40B4-BE49-F238E27FC236}">
                <a16:creationId xmlns:a16="http://schemas.microsoft.com/office/drawing/2014/main" id="{9461850F-80C9-4B8C-A8E7-EF6D8D02A0C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4218" y="3084076"/>
            <a:ext cx="3128359" cy="3128359"/>
          </a:xfrm>
          <a:prstGeom prst="ellipse">
            <a:avLst/>
          </a:prstGeom>
          <a:ln>
            <a:noFill/>
          </a:ln>
        </p:spPr>
      </p:pic>
      <p:sp>
        <p:nvSpPr>
          <p:cNvPr id="2" name="Text Placeholder 4">
            <a:extLst>
              <a:ext uri="{FF2B5EF4-FFF2-40B4-BE49-F238E27FC236}">
                <a16:creationId xmlns:a16="http://schemas.microsoft.com/office/drawing/2014/main" id="{6619BDFC-FBBB-AE65-DDBB-D904272D6A1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80E42A5-4BAA-30E0-3F80-7ECAD574F668}"/>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4049221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AGE IMAGE RIGHT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216">
            <a:extLst>
              <a:ext uri="{FF2B5EF4-FFF2-40B4-BE49-F238E27FC236}">
                <a16:creationId xmlns:a16="http://schemas.microsoft.com/office/drawing/2014/main" id="{DA64DE30-4E17-479B-A144-247C89F7CE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8271"/>
            <a:ext cx="3128359" cy="3128359"/>
          </a:xfrm>
          <a:prstGeom prst="ellipse">
            <a:avLst/>
          </a:prstGeom>
          <a:ln>
            <a:noFill/>
          </a:ln>
        </p:spPr>
      </p:pic>
      <p:sp>
        <p:nvSpPr>
          <p:cNvPr id="2" name="Text Placeholder 4">
            <a:extLst>
              <a:ext uri="{FF2B5EF4-FFF2-40B4-BE49-F238E27FC236}">
                <a16:creationId xmlns:a16="http://schemas.microsoft.com/office/drawing/2014/main" id="{22197206-250A-B92B-B423-371C212FF99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86DD8FC3-D107-12D9-F9B1-E543C7AFC99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0651841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PAGE IMAGE RIGHT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79">
            <a:extLst>
              <a:ext uri="{FF2B5EF4-FFF2-40B4-BE49-F238E27FC236}">
                <a16:creationId xmlns:a16="http://schemas.microsoft.com/office/drawing/2014/main" id="{2603C81C-176A-4A44-8738-465B40CE5CD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8514" y="3070350"/>
            <a:ext cx="3128359" cy="3128359"/>
          </a:xfrm>
          <a:prstGeom prst="ellipse">
            <a:avLst/>
          </a:prstGeom>
          <a:ln>
            <a:noFill/>
          </a:ln>
        </p:spPr>
      </p:pic>
      <p:sp>
        <p:nvSpPr>
          <p:cNvPr id="2" name="Text Placeholder 4">
            <a:extLst>
              <a:ext uri="{FF2B5EF4-FFF2-40B4-BE49-F238E27FC236}">
                <a16:creationId xmlns:a16="http://schemas.microsoft.com/office/drawing/2014/main" id="{65A204B3-BD35-F274-B3EA-0F9E29AEF87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A358016F-F2A7-2DA8-129E-D385249D13F6}"/>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431884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ASHPAGE AS 4">
    <p:bg>
      <p:bgPr>
        <a:solidFill>
          <a:schemeClr val="bg1"/>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9C893BA-F6EE-4E83-BE58-9A0E22A9CF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D51AD77-9F8E-4FE5-B3D1-C3092AB60B8F}"/>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5" name="Group 14">
            <a:extLst>
              <a:ext uri="{FF2B5EF4-FFF2-40B4-BE49-F238E27FC236}">
                <a16:creationId xmlns:a16="http://schemas.microsoft.com/office/drawing/2014/main" id="{580A3703-6F20-45D6-9C88-75098BA5575C}"/>
              </a:ext>
            </a:extLst>
          </p:cNvPr>
          <p:cNvGrpSpPr/>
          <p:nvPr userDrawn="1"/>
        </p:nvGrpSpPr>
        <p:grpSpPr>
          <a:xfrm>
            <a:off x="6073832" y="268219"/>
            <a:ext cx="5836821" cy="5088756"/>
            <a:chOff x="5836362" y="68074"/>
            <a:chExt cx="6083274" cy="5355263"/>
          </a:xfrm>
        </p:grpSpPr>
        <p:sp>
          <p:nvSpPr>
            <p:cNvPr id="16" name="Oval 15">
              <a:extLst>
                <a:ext uri="{FF2B5EF4-FFF2-40B4-BE49-F238E27FC236}">
                  <a16:creationId xmlns:a16="http://schemas.microsoft.com/office/drawing/2014/main" id="{C31EA660-5266-4A56-A7D6-0C1E6A3C694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693BEC8D-B687-4817-9ACB-4BDD9224FA50}"/>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7854D696-4032-463D-9207-225848DE992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726B13DD-8B9E-45BE-B559-BB765425967D}"/>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14140742-013B-4ADB-A18F-83BA2430A609}"/>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Oval 20">
              <a:extLst>
                <a:ext uri="{FF2B5EF4-FFF2-40B4-BE49-F238E27FC236}">
                  <a16:creationId xmlns:a16="http://schemas.microsoft.com/office/drawing/2014/main" id="{4392C1B2-0DC9-4ABF-8B99-CCFF5DBD265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05585273-FCAB-44B6-BE40-85BF8E6A96DA}"/>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300B9C4B-5CEA-4BFA-9B9C-1D73BA93AE90}"/>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EB43A2BB-E209-4AB6-BB05-633F84CE4FB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5" name="Circle: Hollow 24">
              <a:extLst>
                <a:ext uri="{FF2B5EF4-FFF2-40B4-BE49-F238E27FC236}">
                  <a16:creationId xmlns:a16="http://schemas.microsoft.com/office/drawing/2014/main" id="{77F4B326-2C09-4758-AB22-5DC22D7940B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A68E4810-BC5E-4BD3-BE2A-587F2162668C}"/>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41779BAB-9358-44D1-9C61-B395F8C75370}"/>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638BB871-BA65-47C8-8E8E-B58A87FCC4D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9" name="Oval 28">
              <a:extLst>
                <a:ext uri="{FF2B5EF4-FFF2-40B4-BE49-F238E27FC236}">
                  <a16:creationId xmlns:a16="http://schemas.microsoft.com/office/drawing/2014/main" id="{D3FFCA38-51D6-4FD1-A6C2-53FFA937226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Circle: Hollow 29">
              <a:extLst>
                <a:ext uri="{FF2B5EF4-FFF2-40B4-BE49-F238E27FC236}">
                  <a16:creationId xmlns:a16="http://schemas.microsoft.com/office/drawing/2014/main" id="{F431AEEC-0BF8-4932-BB17-153969613C9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1" name="Oval 30">
              <a:extLst>
                <a:ext uri="{FF2B5EF4-FFF2-40B4-BE49-F238E27FC236}">
                  <a16:creationId xmlns:a16="http://schemas.microsoft.com/office/drawing/2014/main" id="{2C7349A2-898C-4034-AD8A-423440143357}"/>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CE82100B-D46E-4C02-AC3C-BB7CB5A0590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180E1F0B-C39F-4D4A-940A-ED5C3CDE1FE6}"/>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15D6CFA-0A9E-4873-A671-AAB73CE2BE1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9B5318EB-C539-4ED3-AFD7-013F33B3897D}"/>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CA5B5448-A185-4451-941D-B3D444FF5134}"/>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4BA66155-B705-4FED-B920-2C8BA2BE8E6E}"/>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198640C-8FF9-4EDC-8495-E7CA72A46625}"/>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192A3B8-787D-439C-BACD-79CD8260E84C}"/>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0" name="Oval 39">
              <a:extLst>
                <a:ext uri="{FF2B5EF4-FFF2-40B4-BE49-F238E27FC236}">
                  <a16:creationId xmlns:a16="http://schemas.microsoft.com/office/drawing/2014/main" id="{88EDF3D6-FE5D-4B26-9A59-4F175ADF2FB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5C9353BB-5454-4454-86F9-4904F7F16A4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EE9A01FA-5DA3-4CA8-B74A-D12B71847986}"/>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3EE9D10C-502B-48D8-AFBB-882ABA7A73F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EDCAAD8-810E-4710-A0E5-1EB189EDE10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B2BACA6-1DD9-483B-8391-C1E7D591E75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6" name="Oval 45">
              <a:extLst>
                <a:ext uri="{FF2B5EF4-FFF2-40B4-BE49-F238E27FC236}">
                  <a16:creationId xmlns:a16="http://schemas.microsoft.com/office/drawing/2014/main" id="{6E9D910D-B2F0-4A1C-A05E-B79E1C9F755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861137BA-27EE-4250-BB80-61C617B3A5B5}"/>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5C2A4BD-CD2D-43D3-9273-4DAE72C70AEB}"/>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A02B2099-5F55-4074-B0C1-21588F74958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E574E98C-09FE-4701-B95B-E364E7BAC78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A03763D6-FAA7-484B-84D7-FAB9EC860161}"/>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7B7B4583-A7A4-49BC-A13D-4173BFBBB9D0}"/>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B8348E0-241D-4C64-8BE5-E243CF07DF73}"/>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53AD3BD8-CCF5-40F1-9D42-063E0AEE8237}"/>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83F720AD-C8DB-4F8E-A530-1CAB421B924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Circle: Hollow 55">
              <a:extLst>
                <a:ext uri="{FF2B5EF4-FFF2-40B4-BE49-F238E27FC236}">
                  <a16:creationId xmlns:a16="http://schemas.microsoft.com/office/drawing/2014/main" id="{DFED4172-20AA-4993-AB8B-DB9042A26C58}"/>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7" name="Circle: Hollow 56">
              <a:extLst>
                <a:ext uri="{FF2B5EF4-FFF2-40B4-BE49-F238E27FC236}">
                  <a16:creationId xmlns:a16="http://schemas.microsoft.com/office/drawing/2014/main" id="{FA450EDC-1A24-4C82-9091-F0AD5E76F1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D8E90DD-629B-BBD9-2DF4-A2AC1C34BC4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77B9BE65-EB90-0572-3B2E-AB612EF0F4F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CD3F0093-6A8F-FCAF-8926-EBBE854BA6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0A8DAF30-7CA2-357B-5A6B-DA13E04763D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FC498F8-8B36-1C3C-FF13-8F322BA36E2B}"/>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056422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PAGE IMAGE RIGHT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69">
            <a:extLst>
              <a:ext uri="{FF2B5EF4-FFF2-40B4-BE49-F238E27FC236}">
                <a16:creationId xmlns:a16="http://schemas.microsoft.com/office/drawing/2014/main" id="{12DB180C-23DD-4196-9608-03D1822DDDD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420F16EF-E8A4-B5B8-FA34-9753C57D0105}"/>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8B95462-48AF-6BD7-DF82-AFD7EEFF1D46}"/>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934219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PAGE IMAGE RIGHT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74">
            <a:extLst>
              <a:ext uri="{FF2B5EF4-FFF2-40B4-BE49-F238E27FC236}">
                <a16:creationId xmlns:a16="http://schemas.microsoft.com/office/drawing/2014/main" id="{AE47E58D-ADE0-43FB-9C20-6642FC7BBCE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4856" y="3078271"/>
            <a:ext cx="3128359" cy="3128359"/>
          </a:xfrm>
          <a:prstGeom prst="ellipse">
            <a:avLst/>
          </a:prstGeom>
          <a:ln>
            <a:noFill/>
          </a:ln>
        </p:spPr>
      </p:pic>
      <p:sp>
        <p:nvSpPr>
          <p:cNvPr id="2" name="Text Placeholder 4">
            <a:extLst>
              <a:ext uri="{FF2B5EF4-FFF2-40B4-BE49-F238E27FC236}">
                <a16:creationId xmlns:a16="http://schemas.microsoft.com/office/drawing/2014/main" id="{422C9504-F4C8-8AA1-D2F7-F5CCF69F186F}"/>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8DE6CEF-18BC-1864-9037-993F977311E4}"/>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8186047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PAGE IMAGE RIGHT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C6CA69D8-19F0-4828-83B5-AEBA0A9C72E0}"/>
              </a:ext>
            </a:extLst>
          </p:cNvPr>
          <p:cNvSpPr>
            <a:spLocks noGrp="1" noChangeAspect="1"/>
          </p:cNvSpPr>
          <p:nvPr>
            <p:ph type="pic" sz="quarter" idx="10"/>
          </p:nvPr>
        </p:nvSpPr>
        <p:spPr>
          <a:xfrm>
            <a:off x="8748942" y="3074902"/>
            <a:ext cx="3128359" cy="3128359"/>
          </a:xfrm>
          <a:prstGeom prst="ellipse">
            <a:avLst/>
          </a:prstGeom>
          <a:ln>
            <a:noFill/>
          </a:ln>
        </p:spPr>
        <p:txBody>
          <a:bodyPr/>
          <a:lstStyle/>
          <a:p>
            <a:endParaRPr lang="nl-NL" dirty="0"/>
          </a:p>
        </p:txBody>
      </p:sp>
      <p:sp>
        <p:nvSpPr>
          <p:cNvPr id="24" name="Oval 23">
            <a:extLst>
              <a:ext uri="{FF2B5EF4-FFF2-40B4-BE49-F238E27FC236}">
                <a16:creationId xmlns:a16="http://schemas.microsoft.com/office/drawing/2014/main" id="{30BBC232-BAC0-40A1-8F42-FCA7EA500566}"/>
              </a:ext>
            </a:extLst>
          </p:cNvPr>
          <p:cNvSpPr>
            <a:spLocks noChangeAspect="1"/>
          </p:cNvSpPr>
          <p:nvPr userDrawn="1"/>
        </p:nvSpPr>
        <p:spPr>
          <a:xfrm>
            <a:off x="8816540" y="5844425"/>
            <a:ext cx="175952" cy="17425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20ADA4AA-4699-4CC0-AECD-6B3A36C02E10}"/>
              </a:ext>
            </a:extLst>
          </p:cNvPr>
          <p:cNvSpPr>
            <a:spLocks noChangeAspect="1"/>
          </p:cNvSpPr>
          <p:nvPr userDrawn="1"/>
        </p:nvSpPr>
        <p:spPr>
          <a:xfrm>
            <a:off x="9229794" y="6376603"/>
            <a:ext cx="86693" cy="85857"/>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25EE7E56-16BA-D1D3-B124-41F698FA43FB}"/>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DD6175A-08E6-6013-CD7A-425E05F3507A}"/>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2670035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B14C1D5E-D5B8-4181-86A0-A33091D97C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3437" y="-184771"/>
            <a:ext cx="3128359" cy="3128359"/>
          </a:xfrm>
          <a:prstGeom prst="ellipse">
            <a:avLst/>
          </a:prstGeom>
          <a:ln>
            <a:noFill/>
          </a:ln>
        </p:spPr>
      </p:pic>
      <p:sp>
        <p:nvSpPr>
          <p:cNvPr id="2" name="Text Placeholder 4">
            <a:extLst>
              <a:ext uri="{FF2B5EF4-FFF2-40B4-BE49-F238E27FC236}">
                <a16:creationId xmlns:a16="http://schemas.microsoft.com/office/drawing/2014/main" id="{EE5DFE50-C942-53B4-E8A6-495C1347A1F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Tree>
    <p:extLst>
      <p:ext uri="{BB962C8B-B14F-4D97-AF65-F5344CB8AC3E}">
        <p14:creationId xmlns:p14="http://schemas.microsoft.com/office/powerpoint/2010/main" val="20482091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4">
            <a:extLst>
              <a:ext uri="{FF2B5EF4-FFF2-40B4-BE49-F238E27FC236}">
                <a16:creationId xmlns:a16="http://schemas.microsoft.com/office/drawing/2014/main" id="{DE0BCFC4-CC25-42AF-86DC-D7E4B67E66E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0540" y="-197471"/>
            <a:ext cx="3128359" cy="3128359"/>
          </a:xfrm>
          <a:prstGeom prst="ellipse">
            <a:avLst/>
          </a:prstGeom>
          <a:ln>
            <a:noFill/>
          </a:ln>
        </p:spPr>
      </p:pic>
      <p:sp>
        <p:nvSpPr>
          <p:cNvPr id="2" name="Text Placeholder 4">
            <a:extLst>
              <a:ext uri="{FF2B5EF4-FFF2-40B4-BE49-F238E27FC236}">
                <a16:creationId xmlns:a16="http://schemas.microsoft.com/office/drawing/2014/main" id="{7E56700A-7077-27EF-6220-D14D07699FC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9B8CAA6-3ACD-EF56-5883-51747A0EB1A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745005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520A71E0-7177-4D61-9066-6FC5199641E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8725" y="-187439"/>
            <a:ext cx="3128359" cy="3128359"/>
          </a:xfrm>
          <a:prstGeom prst="ellipse">
            <a:avLst/>
          </a:prstGeom>
        </p:spPr>
      </p:pic>
      <p:sp>
        <p:nvSpPr>
          <p:cNvPr id="2" name="Text Placeholder 4">
            <a:extLst>
              <a:ext uri="{FF2B5EF4-FFF2-40B4-BE49-F238E27FC236}">
                <a16:creationId xmlns:a16="http://schemas.microsoft.com/office/drawing/2014/main" id="{AC6A0537-F6F5-6630-6BAE-9557C8812A0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88B453D-8025-A4E6-23F3-0F27370E830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953105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2">
            <a:extLst>
              <a:ext uri="{FF2B5EF4-FFF2-40B4-BE49-F238E27FC236}">
                <a16:creationId xmlns:a16="http://schemas.microsoft.com/office/drawing/2014/main" id="{4C53DADF-2E96-4FD0-9558-AEEEA600145E}"/>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9371652" y="-147391"/>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4">
            <a:extLst>
              <a:ext uri="{FF2B5EF4-FFF2-40B4-BE49-F238E27FC236}">
                <a16:creationId xmlns:a16="http://schemas.microsoft.com/office/drawing/2014/main" id="{DD7C5BB1-53BE-99C1-D20B-3ECB21A34F9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D6725C80-854D-DB53-EF90-DB113897B81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6969447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43" descr="A picture containing person&#10;&#10;Description automatically generated">
            <a:extLst>
              <a:ext uri="{FF2B5EF4-FFF2-40B4-BE49-F238E27FC236}">
                <a16:creationId xmlns:a16="http://schemas.microsoft.com/office/drawing/2014/main" id="{08BCFD84-0579-4926-BBFC-C7CFB3D06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1117" y="-191121"/>
            <a:ext cx="3128359" cy="3128359"/>
          </a:xfrm>
          <a:prstGeom prst="ellipse">
            <a:avLst/>
          </a:prstGeom>
          <a:ln>
            <a:noFill/>
          </a:ln>
        </p:spPr>
      </p:pic>
      <p:sp>
        <p:nvSpPr>
          <p:cNvPr id="2" name="Text Placeholder 4">
            <a:extLst>
              <a:ext uri="{FF2B5EF4-FFF2-40B4-BE49-F238E27FC236}">
                <a16:creationId xmlns:a16="http://schemas.microsoft.com/office/drawing/2014/main" id="{D849E9E7-262E-2BFC-991B-9FD875ADED0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EA00B6DB-7826-7521-947C-EB764D77D45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049095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9" descr="A person with flowers on the head&#10;&#10;Description automatically generated with medium confidence">
            <a:extLst>
              <a:ext uri="{FF2B5EF4-FFF2-40B4-BE49-F238E27FC236}">
                <a16:creationId xmlns:a16="http://schemas.microsoft.com/office/drawing/2014/main" id="{CA779867-0237-46AD-A0F6-961600B32B6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1592" y="-214772"/>
            <a:ext cx="3128359" cy="3128359"/>
          </a:xfrm>
          <a:prstGeom prst="ellipse">
            <a:avLst/>
          </a:prstGeom>
          <a:ln>
            <a:noFill/>
          </a:ln>
        </p:spPr>
      </p:pic>
      <p:sp>
        <p:nvSpPr>
          <p:cNvPr id="2" name="Text Placeholder 4">
            <a:extLst>
              <a:ext uri="{FF2B5EF4-FFF2-40B4-BE49-F238E27FC236}">
                <a16:creationId xmlns:a16="http://schemas.microsoft.com/office/drawing/2014/main" id="{74AE4EEC-CA6D-D964-9CB5-A6496D37CD2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0F81FFF-7D69-4832-1245-3BAF351FF38A}"/>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0056185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4" descr="A group of people sitting on stairs looking at a computer&#10;&#10;Description automatically generated with low confidence">
            <a:extLst>
              <a:ext uri="{FF2B5EF4-FFF2-40B4-BE49-F238E27FC236}">
                <a16:creationId xmlns:a16="http://schemas.microsoft.com/office/drawing/2014/main" id="{96500467-F130-4FDC-88F2-FFB6E3A03D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7187" y="-181596"/>
            <a:ext cx="3128359" cy="3128359"/>
          </a:xfrm>
          <a:prstGeom prst="ellipse">
            <a:avLst/>
          </a:prstGeom>
          <a:ln>
            <a:noFill/>
          </a:ln>
        </p:spPr>
      </p:pic>
      <p:sp>
        <p:nvSpPr>
          <p:cNvPr id="2" name="Text Placeholder 4">
            <a:extLst>
              <a:ext uri="{FF2B5EF4-FFF2-40B4-BE49-F238E27FC236}">
                <a16:creationId xmlns:a16="http://schemas.microsoft.com/office/drawing/2014/main" id="{58566FFE-B91F-BA9E-37D9-4E8727810823}"/>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B93EAFD-57FC-9866-695A-2F01D0409F2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6489803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ASHPAGE SA 1">
    <p:bg>
      <p:bgPr>
        <a:solidFill>
          <a:schemeClr val="bg1"/>
        </a:solidFill>
        <a:effectLst/>
      </p:bgPr>
    </p:bg>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77D461A4-8970-4809-ABD0-39660BFC747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EEEE534E-73CF-FC2F-1094-86D5E1037168}"/>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85A258DB-7F1D-854F-BD1D-FC95EA0A2061}"/>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4C0E3DEB-A09A-603C-E2AD-F722DBE681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9FA4BF4D-099D-7FF3-D9B2-8B3C8CF16635}"/>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7A96A54-3597-6070-21B3-FAC6E5FF225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6552093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48" descr="A person writing on a chalkboard&#10;&#10;Description automatically generated with medium confidence">
            <a:extLst>
              <a:ext uri="{FF2B5EF4-FFF2-40B4-BE49-F238E27FC236}">
                <a16:creationId xmlns:a16="http://schemas.microsoft.com/office/drawing/2014/main" id="{15CE9E89-66A1-4CED-8762-3831666849F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6612" y="-199565"/>
            <a:ext cx="3128359" cy="3128359"/>
          </a:xfrm>
          <a:prstGeom prst="ellipse">
            <a:avLst/>
          </a:prstGeom>
          <a:ln>
            <a:noFill/>
          </a:ln>
        </p:spPr>
      </p:pic>
      <p:sp>
        <p:nvSpPr>
          <p:cNvPr id="2" name="Text Placeholder 4">
            <a:extLst>
              <a:ext uri="{FF2B5EF4-FFF2-40B4-BE49-F238E27FC236}">
                <a16:creationId xmlns:a16="http://schemas.microsoft.com/office/drawing/2014/main" id="{32AF1072-E84E-D865-2A78-9C92D5B6A998}"/>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716F18D2-0015-4B5B-52CC-6E26D5E7C48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4332773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01">
            <a:extLst>
              <a:ext uri="{FF2B5EF4-FFF2-40B4-BE49-F238E27FC236}">
                <a16:creationId xmlns:a16="http://schemas.microsoft.com/office/drawing/2014/main" id="{86D8F57F-56C0-4587-B013-ACC9DA32D7D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7201" y="-184771"/>
            <a:ext cx="3128359" cy="3128359"/>
          </a:xfrm>
          <a:prstGeom prst="ellipse">
            <a:avLst/>
          </a:prstGeom>
          <a:ln>
            <a:noFill/>
          </a:ln>
        </p:spPr>
      </p:pic>
      <p:sp>
        <p:nvSpPr>
          <p:cNvPr id="2" name="Text Placeholder 4">
            <a:extLst>
              <a:ext uri="{FF2B5EF4-FFF2-40B4-BE49-F238E27FC236}">
                <a16:creationId xmlns:a16="http://schemas.microsoft.com/office/drawing/2014/main" id="{C1F6FF43-1B44-0218-BE6D-74B0EEE7240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38AFC1B-89C7-1285-4569-4EA071B855C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0686796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120" descr="A group of people posing for a photo&#10;&#10;Description automatically generated with low confidence">
            <a:extLst>
              <a:ext uri="{FF2B5EF4-FFF2-40B4-BE49-F238E27FC236}">
                <a16:creationId xmlns:a16="http://schemas.microsoft.com/office/drawing/2014/main" id="{8AF64015-9027-4C00-AA13-27AB6E8C50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26636" y="-197471"/>
            <a:ext cx="3128359" cy="3128359"/>
          </a:xfrm>
          <a:prstGeom prst="ellipse">
            <a:avLst/>
          </a:prstGeom>
          <a:ln>
            <a:noFill/>
          </a:ln>
        </p:spPr>
      </p:pic>
      <p:sp>
        <p:nvSpPr>
          <p:cNvPr id="2" name="Text Placeholder 4">
            <a:extLst>
              <a:ext uri="{FF2B5EF4-FFF2-40B4-BE49-F238E27FC236}">
                <a16:creationId xmlns:a16="http://schemas.microsoft.com/office/drawing/2014/main" id="{5B337798-3004-B2F2-BD4A-3517AFE4927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4396999-E0A0-2AD4-1FCB-F2700B47D88E}"/>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6669551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 name="Picture Placeholder 115">
            <a:extLst>
              <a:ext uri="{FF2B5EF4-FFF2-40B4-BE49-F238E27FC236}">
                <a16:creationId xmlns:a16="http://schemas.microsoft.com/office/drawing/2014/main" id="{CFFEB35F-6F7F-44D3-AC0B-C6A452C168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8002" y="-184771"/>
            <a:ext cx="3128359" cy="3128359"/>
          </a:xfrm>
          <a:prstGeom prst="ellipse">
            <a:avLst/>
          </a:prstGeom>
          <a:ln>
            <a:noFill/>
          </a:ln>
        </p:spPr>
      </p:pic>
      <p:sp>
        <p:nvSpPr>
          <p:cNvPr id="2" name="Text Placeholder 4">
            <a:extLst>
              <a:ext uri="{FF2B5EF4-FFF2-40B4-BE49-F238E27FC236}">
                <a16:creationId xmlns:a16="http://schemas.microsoft.com/office/drawing/2014/main" id="{F9997CC1-EAD6-F97E-D502-8E39E8EA080D}"/>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3426099F-1E1D-1A00-95AF-6D2A9BC6616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8971812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11" descr="A picture containing text, person, feet&#10;&#10;Description automatically generated">
            <a:extLst>
              <a:ext uri="{FF2B5EF4-FFF2-40B4-BE49-F238E27FC236}">
                <a16:creationId xmlns:a16="http://schemas.microsoft.com/office/drawing/2014/main" id="{F6ED375F-7F58-4C80-9463-D3CB2D5A93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6137" y="-172071"/>
            <a:ext cx="3128359" cy="3128359"/>
          </a:xfrm>
          <a:prstGeom prst="ellipse">
            <a:avLst/>
          </a:prstGeom>
          <a:ln>
            <a:noFill/>
          </a:ln>
        </p:spPr>
      </p:pic>
      <p:sp>
        <p:nvSpPr>
          <p:cNvPr id="2" name="Text Placeholder 4">
            <a:extLst>
              <a:ext uri="{FF2B5EF4-FFF2-40B4-BE49-F238E27FC236}">
                <a16:creationId xmlns:a16="http://schemas.microsoft.com/office/drawing/2014/main" id="{93B0EC30-966F-CE1F-BEE8-E7ECE82E97CF}"/>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CA49838-B33F-BB41-0E57-21937FC28CB1}"/>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624185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1" descr="A person holding a football ball&#10;&#10;Description automatically generated">
            <a:extLst>
              <a:ext uri="{FF2B5EF4-FFF2-40B4-BE49-F238E27FC236}">
                <a16:creationId xmlns:a16="http://schemas.microsoft.com/office/drawing/2014/main" id="{F705FA6C-BF95-4E05-93CA-B7ED29F1BA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94068"/>
            <a:ext cx="3128359" cy="3128359"/>
          </a:xfrm>
          <a:prstGeom prst="ellipse">
            <a:avLst/>
          </a:prstGeom>
          <a:ln>
            <a:noFill/>
          </a:ln>
        </p:spPr>
      </p:pic>
      <p:sp>
        <p:nvSpPr>
          <p:cNvPr id="2" name="Text Placeholder 4">
            <a:extLst>
              <a:ext uri="{FF2B5EF4-FFF2-40B4-BE49-F238E27FC236}">
                <a16:creationId xmlns:a16="http://schemas.microsoft.com/office/drawing/2014/main" id="{249CB060-90D4-4815-BF9B-D001CB268BB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0019A549-5CD5-9A2D-5A82-EA96E0EE647E}"/>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3387103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256" descr="A group of people smiling&#10;&#10;Description automatically generated with low confidence">
            <a:extLst>
              <a:ext uri="{FF2B5EF4-FFF2-40B4-BE49-F238E27FC236}">
                <a16:creationId xmlns:a16="http://schemas.microsoft.com/office/drawing/2014/main" id="{0D8DA78A-2BCE-4BBC-BE2E-089E148988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6137" y="-196893"/>
            <a:ext cx="3128359" cy="3128359"/>
          </a:xfrm>
          <a:prstGeom prst="ellipse">
            <a:avLst/>
          </a:prstGeom>
          <a:ln>
            <a:noFill/>
          </a:ln>
        </p:spPr>
      </p:pic>
      <p:sp>
        <p:nvSpPr>
          <p:cNvPr id="2" name="Text Placeholder 4">
            <a:extLst>
              <a:ext uri="{FF2B5EF4-FFF2-40B4-BE49-F238E27FC236}">
                <a16:creationId xmlns:a16="http://schemas.microsoft.com/office/drawing/2014/main" id="{035527CE-B2D2-1972-687D-50447AB4C3B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D513B1E-4CE7-DFB1-B13C-BB1FB5EE5A3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858231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46">
            <a:extLst>
              <a:ext uri="{FF2B5EF4-FFF2-40B4-BE49-F238E27FC236}">
                <a16:creationId xmlns:a16="http://schemas.microsoft.com/office/drawing/2014/main" id="{CAB63D51-5793-46F1-8744-861B3FD9252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9887" y="-196893"/>
            <a:ext cx="3128359" cy="3128359"/>
          </a:xfrm>
          <a:prstGeom prst="ellipse">
            <a:avLst/>
          </a:prstGeom>
          <a:ln>
            <a:noFill/>
          </a:ln>
        </p:spPr>
      </p:pic>
      <p:sp>
        <p:nvSpPr>
          <p:cNvPr id="2" name="Text Placeholder 4">
            <a:extLst>
              <a:ext uri="{FF2B5EF4-FFF2-40B4-BE49-F238E27FC236}">
                <a16:creationId xmlns:a16="http://schemas.microsoft.com/office/drawing/2014/main" id="{A9157641-8FCB-B728-30A8-49C2DBB13C5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FC272195-683A-8068-B1E7-459C55692B5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2461499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51">
            <a:extLst>
              <a:ext uri="{FF2B5EF4-FFF2-40B4-BE49-F238E27FC236}">
                <a16:creationId xmlns:a16="http://schemas.microsoft.com/office/drawing/2014/main" id="{7C336B2F-321B-456B-81E0-9A1CEE04B3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0540" y="-186197"/>
            <a:ext cx="3128359" cy="3128359"/>
          </a:xfrm>
          <a:prstGeom prst="ellipse">
            <a:avLst/>
          </a:prstGeom>
          <a:ln>
            <a:noFill/>
          </a:ln>
        </p:spPr>
      </p:pic>
      <p:sp>
        <p:nvSpPr>
          <p:cNvPr id="2" name="Text Placeholder 4">
            <a:extLst>
              <a:ext uri="{FF2B5EF4-FFF2-40B4-BE49-F238E27FC236}">
                <a16:creationId xmlns:a16="http://schemas.microsoft.com/office/drawing/2014/main" id="{F2CB01D5-5CAC-A981-0A59-128A314160A0}"/>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89B77EF7-CC67-553D-D8ED-BC1CF533249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261208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7" descr="A boat in the water with a city in the background&#10;&#10;Description automatically generated with medium confidence">
            <a:extLst>
              <a:ext uri="{FF2B5EF4-FFF2-40B4-BE49-F238E27FC236}">
                <a16:creationId xmlns:a16="http://schemas.microsoft.com/office/drawing/2014/main" id="{93D9F701-A45B-4056-9089-69A8A0B881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72071"/>
            <a:ext cx="3128359" cy="3128359"/>
          </a:xfrm>
          <a:prstGeom prst="ellipse">
            <a:avLst/>
          </a:prstGeom>
          <a:ln>
            <a:noFill/>
          </a:ln>
        </p:spPr>
      </p:pic>
      <p:sp>
        <p:nvSpPr>
          <p:cNvPr id="2" name="Text Placeholder 4">
            <a:extLst>
              <a:ext uri="{FF2B5EF4-FFF2-40B4-BE49-F238E27FC236}">
                <a16:creationId xmlns:a16="http://schemas.microsoft.com/office/drawing/2014/main" id="{5A38E71E-BC9B-C633-4455-8E38AE9A7D87}"/>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097D2F5-3386-E0F7-A8F0-5CEEAE5F09D3}"/>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717189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ASHPAGE SA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800FDC1B-0B9C-4C20-A80D-DC43B0FD51C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B2FD31D6-857F-4AA6-8F21-E540A8982BFB}"/>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dirty="0"/>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July 14, 2023</a:t>
            </a:fld>
            <a:endParaRPr lang="nl-NL" sz="2000" b="1" dirty="0">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7FB863C-B33D-3DD5-EFC0-73F4F77CCE0B}"/>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150A1A1F-4D2D-85BA-7C70-4C5D9ACA1DE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A1198B62-3954-F679-0739-18D33EFDC38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7A54C6CF-31F7-5730-D995-8ADDEB95FE4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10E5619A-9433-45C0-F223-227AF5BDD15F}"/>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11530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1">
            <a:extLst>
              <a:ext uri="{FF2B5EF4-FFF2-40B4-BE49-F238E27FC236}">
                <a16:creationId xmlns:a16="http://schemas.microsoft.com/office/drawing/2014/main" id="{AC988EF4-DC1B-47A5-9A3F-A94DF565659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4292" y="-206407"/>
            <a:ext cx="3128359" cy="3128359"/>
          </a:xfrm>
          <a:prstGeom prst="ellipse">
            <a:avLst/>
          </a:prstGeom>
          <a:ln>
            <a:noFill/>
          </a:ln>
        </p:spPr>
      </p:pic>
      <p:sp>
        <p:nvSpPr>
          <p:cNvPr id="2" name="Text Placeholder 4">
            <a:extLst>
              <a:ext uri="{FF2B5EF4-FFF2-40B4-BE49-F238E27FC236}">
                <a16:creationId xmlns:a16="http://schemas.microsoft.com/office/drawing/2014/main" id="{335D3E27-B89B-D97B-50D8-10FB957D86FE}"/>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FA77C09-DB66-0BF4-3A0A-0598F1D762EB}"/>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34191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6">
            <a:extLst>
              <a:ext uri="{FF2B5EF4-FFF2-40B4-BE49-F238E27FC236}">
                <a16:creationId xmlns:a16="http://schemas.microsoft.com/office/drawing/2014/main" id="{BE534D03-BC3E-41D3-86E8-FE5C239CFD9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7187" y="-186197"/>
            <a:ext cx="3128359" cy="3128359"/>
          </a:xfrm>
          <a:prstGeom prst="ellipse">
            <a:avLst/>
          </a:prstGeom>
          <a:ln>
            <a:noFill/>
          </a:ln>
        </p:spPr>
      </p:pic>
      <p:sp>
        <p:nvSpPr>
          <p:cNvPr id="2" name="Text Placeholder 4">
            <a:extLst>
              <a:ext uri="{FF2B5EF4-FFF2-40B4-BE49-F238E27FC236}">
                <a16:creationId xmlns:a16="http://schemas.microsoft.com/office/drawing/2014/main" id="{60A93605-5826-0331-3923-A09981D6B7FB}"/>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50F5E09B-5155-4DBA-8905-E197A84BD3D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132884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1" name="Circle: Hollow 10">
            <a:extLst>
              <a:ext uri="{FF2B5EF4-FFF2-40B4-BE49-F238E27FC236}">
                <a16:creationId xmlns:a16="http://schemas.microsoft.com/office/drawing/2014/main" id="{9C70BD3E-C9D9-4F81-94C9-3BE89B4CED01}"/>
              </a:ext>
            </a:extLst>
          </p:cNvPr>
          <p:cNvSpPr>
            <a:spLocks noChangeAspect="1"/>
          </p:cNvSpPr>
          <p:nvPr userDrawn="1"/>
        </p:nvSpPr>
        <p:spPr>
          <a:xfrm>
            <a:off x="9081128" y="-488511"/>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AA6FAA8F-A86A-411A-9FC3-EFBDD1332726}"/>
              </a:ext>
            </a:extLst>
          </p:cNvPr>
          <p:cNvSpPr>
            <a:spLocks noChangeAspect="1"/>
          </p:cNvSpPr>
          <p:nvPr userDrawn="1"/>
        </p:nvSpPr>
        <p:spPr>
          <a:xfrm>
            <a:off x="9181713" y="-398814"/>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0" name="Picture Placeholder 2">
            <a:extLst>
              <a:ext uri="{FF2B5EF4-FFF2-40B4-BE49-F238E27FC236}">
                <a16:creationId xmlns:a16="http://schemas.microsoft.com/office/drawing/2014/main" id="{69CCF839-CB7A-451F-9F2C-6D310B5F0286}"/>
              </a:ext>
            </a:extLst>
          </p:cNvPr>
          <p:cNvSpPr>
            <a:spLocks noGrp="1" noChangeAspect="1"/>
          </p:cNvSpPr>
          <p:nvPr>
            <p:ph type="pic" sz="quarter" idx="10"/>
          </p:nvPr>
        </p:nvSpPr>
        <p:spPr>
          <a:xfrm>
            <a:off x="9328725" y="-250939"/>
            <a:ext cx="3128359" cy="3128359"/>
          </a:xfrm>
          <a:prstGeom prst="ellipse">
            <a:avLst/>
          </a:prstGeom>
          <a:ln>
            <a:noFill/>
          </a:ln>
        </p:spPr>
        <p:txBody>
          <a:bodyPr/>
          <a:lstStyle/>
          <a:p>
            <a:endParaRPr lang="nl-NL" dirty="0"/>
          </a:p>
        </p:txBody>
      </p:sp>
      <p:sp>
        <p:nvSpPr>
          <p:cNvPr id="2" name="Text Placeholder 4">
            <a:extLst>
              <a:ext uri="{FF2B5EF4-FFF2-40B4-BE49-F238E27FC236}">
                <a16:creationId xmlns:a16="http://schemas.microsoft.com/office/drawing/2014/main" id="{969DCE78-5DAC-A743-A96F-73DBC5D0810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9CE1F0A-DEE3-0702-E2C0-0392B11D54C7}"/>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1411435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53">
            <a:extLst>
              <a:ext uri="{FF2B5EF4-FFF2-40B4-BE49-F238E27FC236}">
                <a16:creationId xmlns:a16="http://schemas.microsoft.com/office/drawing/2014/main" id="{9B2EF9C4-E552-4E71-AE20-8B63C44450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9452200" y="-185519"/>
            <a:ext cx="2881395" cy="2881395"/>
          </a:xfrm>
          <a:prstGeom prst="ellipse">
            <a:avLst/>
          </a:prstGeom>
          <a:ln>
            <a:noFill/>
          </a:ln>
        </p:spPr>
      </p:pic>
      <p:sp>
        <p:nvSpPr>
          <p:cNvPr id="2" name="Text Placeholder 4">
            <a:extLst>
              <a:ext uri="{FF2B5EF4-FFF2-40B4-BE49-F238E27FC236}">
                <a16:creationId xmlns:a16="http://schemas.microsoft.com/office/drawing/2014/main" id="{AE23CB62-78C7-75B1-B358-377FD7859B1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25032089-B233-E9A0-42DE-EF0647AB7FCF}"/>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9695357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7" name="Picture Placeholder 43">
            <a:extLst>
              <a:ext uri="{FF2B5EF4-FFF2-40B4-BE49-F238E27FC236}">
                <a16:creationId xmlns:a16="http://schemas.microsoft.com/office/drawing/2014/main" id="{77C9E4C0-91E8-49BA-94FD-77F0192FB09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4123" y="-193655"/>
            <a:ext cx="2881395" cy="2881395"/>
          </a:xfrm>
          <a:prstGeom prst="ellipse">
            <a:avLst/>
          </a:prstGeom>
          <a:ln>
            <a:noFill/>
          </a:ln>
        </p:spPr>
      </p:pic>
      <p:sp>
        <p:nvSpPr>
          <p:cNvPr id="2" name="Text Placeholder 4">
            <a:extLst>
              <a:ext uri="{FF2B5EF4-FFF2-40B4-BE49-F238E27FC236}">
                <a16:creationId xmlns:a16="http://schemas.microsoft.com/office/drawing/2014/main" id="{472C0CB2-1F16-049A-31FD-677973F54E0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8F44AC6-1B0D-814B-5FDA-D171FE89E7CE}"/>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42652946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48">
            <a:extLst>
              <a:ext uri="{FF2B5EF4-FFF2-40B4-BE49-F238E27FC236}">
                <a16:creationId xmlns:a16="http://schemas.microsoft.com/office/drawing/2014/main" id="{E9D9A240-BDA6-4525-B95E-41E70455BE2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27419" y="-154537"/>
            <a:ext cx="2881395" cy="2881395"/>
          </a:xfrm>
          <a:prstGeom prst="ellipse">
            <a:avLst/>
          </a:prstGeom>
          <a:ln>
            <a:noFill/>
          </a:ln>
        </p:spPr>
      </p:pic>
      <p:sp>
        <p:nvSpPr>
          <p:cNvPr id="2" name="Text Placeholder 4">
            <a:extLst>
              <a:ext uri="{FF2B5EF4-FFF2-40B4-BE49-F238E27FC236}">
                <a16:creationId xmlns:a16="http://schemas.microsoft.com/office/drawing/2014/main" id="{3D59AC4E-3806-7127-653E-D836E1E4166F}"/>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1826851A-CEF4-0B4E-8A63-7DF113FCA185}"/>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2076931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34">
            <a:extLst>
              <a:ext uri="{FF2B5EF4-FFF2-40B4-BE49-F238E27FC236}">
                <a16:creationId xmlns:a16="http://schemas.microsoft.com/office/drawing/2014/main" id="{E0B88EC2-4601-43F2-A32E-E9DD6E98818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56447" y="-171005"/>
            <a:ext cx="2881395" cy="2881395"/>
          </a:xfrm>
          <a:prstGeom prst="ellipse">
            <a:avLst/>
          </a:prstGeom>
          <a:ln>
            <a:noFill/>
          </a:ln>
        </p:spPr>
      </p:pic>
      <p:sp>
        <p:nvSpPr>
          <p:cNvPr id="2" name="Text Placeholder 4">
            <a:extLst>
              <a:ext uri="{FF2B5EF4-FFF2-40B4-BE49-F238E27FC236}">
                <a16:creationId xmlns:a16="http://schemas.microsoft.com/office/drawing/2014/main" id="{F9E8E79C-94DF-5ACB-9CA6-D9369BE764FB}"/>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437E1F8F-617F-593E-BB98-D5505A0CCC9D}"/>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19438953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5" descr="A picture containing person, people, close&#10;&#10;Description automatically generated">
            <a:extLst>
              <a:ext uri="{FF2B5EF4-FFF2-40B4-BE49-F238E27FC236}">
                <a16:creationId xmlns:a16="http://schemas.microsoft.com/office/drawing/2014/main" id="{A053A14F-3154-48C1-95DE-448E4809B2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203" y="-211669"/>
            <a:ext cx="2945028" cy="2945028"/>
          </a:xfrm>
          <a:prstGeom prst="ellipse">
            <a:avLst/>
          </a:prstGeom>
          <a:ln>
            <a:noFill/>
          </a:ln>
        </p:spPr>
      </p:pic>
      <p:sp>
        <p:nvSpPr>
          <p:cNvPr id="2" name="Text Placeholder 4">
            <a:extLst>
              <a:ext uri="{FF2B5EF4-FFF2-40B4-BE49-F238E27FC236}">
                <a16:creationId xmlns:a16="http://schemas.microsoft.com/office/drawing/2014/main" id="{2A2B4C7B-0CCD-A517-9DFD-4D0DD12C453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63838DCD-C5E2-9326-B4FF-F9483E50F21C}"/>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7721151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1">
            <a:extLst>
              <a:ext uri="{FF2B5EF4-FFF2-40B4-BE49-F238E27FC236}">
                <a16:creationId xmlns:a16="http://schemas.microsoft.com/office/drawing/2014/main" id="{08E6D46D-DA71-472B-A63A-5E527CCE27C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338" y="-196343"/>
            <a:ext cx="2941233" cy="2941233"/>
          </a:xfrm>
          <a:prstGeom prst="ellipse">
            <a:avLst/>
          </a:prstGeom>
          <a:ln>
            <a:noFill/>
          </a:ln>
        </p:spPr>
      </p:pic>
      <p:sp>
        <p:nvSpPr>
          <p:cNvPr id="2" name="Text Placeholder 4">
            <a:extLst>
              <a:ext uri="{FF2B5EF4-FFF2-40B4-BE49-F238E27FC236}">
                <a16:creationId xmlns:a16="http://schemas.microsoft.com/office/drawing/2014/main" id="{6F17382C-2B9B-FBCD-45D9-748CAA94F9DD}"/>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9B4F8741-2B49-4BC5-BACC-E82BCCA37662}"/>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23735699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dirty="0"/>
              <a:t>Click to edit Master title style</a:t>
            </a:r>
            <a:endParaRPr lang="nl-NL" dirty="0"/>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6">
            <a:extLst>
              <a:ext uri="{FF2B5EF4-FFF2-40B4-BE49-F238E27FC236}">
                <a16:creationId xmlns:a16="http://schemas.microsoft.com/office/drawing/2014/main" id="{74F869F0-BACE-41C7-A322-B09511CD34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1485" y="-145618"/>
            <a:ext cx="2881395" cy="2881395"/>
          </a:xfrm>
          <a:prstGeom prst="ellipse">
            <a:avLst/>
          </a:prstGeom>
          <a:ln>
            <a:noFill/>
          </a:ln>
        </p:spPr>
      </p:pic>
      <p:sp>
        <p:nvSpPr>
          <p:cNvPr id="2" name="Text Placeholder 4">
            <a:extLst>
              <a:ext uri="{FF2B5EF4-FFF2-40B4-BE49-F238E27FC236}">
                <a16:creationId xmlns:a16="http://schemas.microsoft.com/office/drawing/2014/main" id="{2C22D26E-9BC9-152A-A1A8-F6BE39BC5017}"/>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dirty="0"/>
              <a:t>Click to edit Master text styles</a:t>
            </a:r>
          </a:p>
        </p:txBody>
      </p:sp>
      <p:sp>
        <p:nvSpPr>
          <p:cNvPr id="3" name="Slide Number Placeholder 2">
            <a:extLst>
              <a:ext uri="{FF2B5EF4-FFF2-40B4-BE49-F238E27FC236}">
                <a16:creationId xmlns:a16="http://schemas.microsoft.com/office/drawing/2014/main" id="{B2F09F2D-2EDF-6046-3E50-C51466C29639}"/>
              </a:ext>
            </a:extLst>
          </p:cNvPr>
          <p:cNvSpPr>
            <a:spLocks noGrp="1"/>
          </p:cNvSpPr>
          <p:nvPr>
            <p:ph type="sldNum" sz="quarter" idx="12"/>
          </p:nvPr>
        </p:nvSpPr>
        <p:spPr/>
        <p:txBody>
          <a:bodyPr/>
          <a:lstStyle/>
          <a:p>
            <a:fld id="{76D3296C-7848-42A4-8F9B-BD5BB411D25F}" type="slidenum">
              <a:rPr lang="nl-NL" smtClean="0"/>
              <a:pPr/>
              <a:t>‹#›</a:t>
            </a:fld>
            <a:endParaRPr lang="nl-NL"/>
          </a:p>
        </p:txBody>
      </p:sp>
    </p:spTree>
    <p:extLst>
      <p:ext uri="{BB962C8B-B14F-4D97-AF65-F5344CB8AC3E}">
        <p14:creationId xmlns:p14="http://schemas.microsoft.com/office/powerpoint/2010/main" val="3743593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theme" Target="../theme/theme1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77.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theme" Target="../theme/theme11.xml"/><Relationship Id="rId5" Type="http://schemas.openxmlformats.org/officeDocument/2006/relationships/slideLayout" Target="../slideLayouts/slideLayout179.xml"/><Relationship Id="rId4" Type="http://schemas.openxmlformats.org/officeDocument/2006/relationships/slideLayout" Target="../slideLayouts/slideLayout178.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81.xml"/><Relationship Id="rId1" Type="http://schemas.openxmlformats.org/officeDocument/2006/relationships/slideLayout" Target="../slideLayouts/slideLayout18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theme" Target="../theme/theme13.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3.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heme" Target="../theme/theme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heme" Target="../theme/theme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theme" Target="../theme/theme7.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theme" Target="../theme/theme8.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theme" Target="../theme/theme9.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4122ED7-1914-434F-9883-AE5935302A8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4" name="Slide Number Placeholder 3">
            <a:extLst>
              <a:ext uri="{FF2B5EF4-FFF2-40B4-BE49-F238E27FC236}">
                <a16:creationId xmlns:a16="http://schemas.microsoft.com/office/drawing/2014/main" id="{5872A442-584C-FE0D-ED88-FE202F149D97}"/>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2253695231"/>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825" r:id="rId3"/>
    <p:sldLayoutId id="2147483826" r:id="rId4"/>
    <p:sldLayoutId id="2147483874" r:id="rId5"/>
    <p:sldLayoutId id="2147483876" r:id="rId6"/>
    <p:sldLayoutId id="2147483873" r:id="rId7"/>
    <p:sldLayoutId id="2147483875" r:id="rId8"/>
    <p:sldLayoutId id="2147483924" r:id="rId9"/>
    <p:sldLayoutId id="2147483925" r:id="rId10"/>
    <p:sldLayoutId id="2147483926" r:id="rId11"/>
    <p:sldLayoutId id="2147483927" r:id="rId12"/>
    <p:sldLayoutId id="2147483928" r:id="rId13"/>
    <p:sldLayoutId id="2147483976" r:id="rId14"/>
    <p:sldLayoutId id="2147483974" r:id="rId15"/>
    <p:sldLayoutId id="2147483975" r:id="rId16"/>
    <p:sldLayoutId id="2147484048"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717D016D-D214-4C87-8FC7-68B10373FDFE}"/>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A9E18B59-1FBA-347F-28A9-D9BA03B8C709}"/>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1868986140"/>
      </p:ext>
    </p:extLst>
  </p:cSld>
  <p:clrMap bg1="lt1" tx1="dk1" bg2="lt2" tx2="dk2" accent1="accent1" accent2="accent2" accent3="accent3" accent4="accent4" accent5="accent5" accent6="accent6" hlink="hlink" folHlink="folHlink"/>
  <p:sldLayoutIdLst>
    <p:sldLayoutId id="2147483816" r:id="rId1"/>
    <p:sldLayoutId id="2147483820" r:id="rId2"/>
    <p:sldLayoutId id="2147483821" r:id="rId3"/>
    <p:sldLayoutId id="2147483867" r:id="rId4"/>
    <p:sldLayoutId id="2147483868" r:id="rId5"/>
    <p:sldLayoutId id="2147483869" r:id="rId6"/>
    <p:sldLayoutId id="2147483915" r:id="rId7"/>
    <p:sldLayoutId id="2147483916" r:id="rId8"/>
    <p:sldLayoutId id="2147483917" r:id="rId9"/>
    <p:sldLayoutId id="2147483918" r:id="rId10"/>
    <p:sldLayoutId id="2147483997" r:id="rId11"/>
    <p:sldLayoutId id="2147483998" r:id="rId12"/>
    <p:sldLayoutId id="2147483999" r:id="rId13"/>
    <p:sldLayoutId id="2147484000" r:id="rId14"/>
    <p:sldLayoutId id="2147484004" r:id="rId15"/>
    <p:sldLayoutId id="2147484001" r:id="rId16"/>
    <p:sldLayoutId id="2147484002" r:id="rId17"/>
    <p:sldLayoutId id="2147484003" r:id="rId18"/>
    <p:sldLayoutId id="2147483822" r:id="rId19"/>
    <p:sldLayoutId id="2147483817" r:id="rId20"/>
    <p:sldLayoutId id="2147483819" r:id="rId21"/>
    <p:sldLayoutId id="2147484029" r:id="rId2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9CEC4539-0770-4346-1D8A-A0C33166C6FD}"/>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452284608"/>
      </p:ext>
    </p:extLst>
  </p:cSld>
  <p:clrMap bg1="lt1" tx1="dk1" bg2="lt2" tx2="dk2" accent1="accent1" accent2="accent2" accent3="accent3" accent4="accent4" accent5="accent5" accent6="accent6" hlink="hlink" folHlink="folHlink"/>
  <p:sldLayoutIdLst>
    <p:sldLayoutId id="2147484032" r:id="rId1"/>
    <p:sldLayoutId id="2147484040" r:id="rId2"/>
    <p:sldLayoutId id="2147484045" r:id="rId3"/>
    <p:sldLayoutId id="2147484046" r:id="rId4"/>
    <p:sldLayoutId id="2147484049"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68620025-E788-06B2-67D5-944B6CAFE3E2}"/>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346234790"/>
      </p:ext>
    </p:extLst>
  </p:cSld>
  <p:clrMap bg1="lt1" tx1="dk1" bg2="lt2" tx2="dk2" accent1="accent1" accent2="accent2" accent3="accent3" accent4="accent4" accent5="accent5" accent6="accent6" hlink="hlink" folHlink="folHlink"/>
  <p:sldLayoutIdLst>
    <p:sldLayoutId id="2147484037" r:id="rId1"/>
    <p:sldLayoutId id="214748404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87EE1C9-E666-4B50-B7DD-2BDF88DB411D}"/>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279137213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835" r:id="rId3"/>
    <p:sldLayoutId id="2147483834" r:id="rId4"/>
    <p:sldLayoutId id="2147483877" r:id="rId5"/>
    <p:sldLayoutId id="2147483878" r:id="rId6"/>
    <p:sldLayoutId id="2147483879" r:id="rId7"/>
    <p:sldLayoutId id="2147483880" r:id="rId8"/>
    <p:sldLayoutId id="2147483937" r:id="rId9"/>
    <p:sldLayoutId id="2147483938" r:id="rId10"/>
    <p:sldLayoutId id="2147483939" r:id="rId11"/>
    <p:sldLayoutId id="2147483940" r:id="rId12"/>
    <p:sldLayoutId id="2147483941" r:id="rId13"/>
    <p:sldLayoutId id="2147483977" r:id="rId14"/>
    <p:sldLayoutId id="2147483978" r:id="rId15"/>
    <p:sldLayoutId id="214748397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2FDFC8A-5293-A7D9-BFBE-CBABD9D91C97}"/>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323497015"/>
      </p:ext>
    </p:extLst>
  </p:cSld>
  <p:clrMap bg1="lt1" tx1="dk1" bg2="lt2" tx2="dk2" accent1="accent1" accent2="accent2" accent3="accent3" accent4="accent4" accent5="accent5" accent6="accent6" hlink="hlink" folHlink="folHlink"/>
  <p:sldLayoutIdLst>
    <p:sldLayoutId id="2147484034" r:id="rId1"/>
    <p:sldLayoutId id="2147484038" r:id="rId2"/>
    <p:sldLayoutId id="2147484039" r:id="rId3"/>
    <p:sldLayoutId id="214748403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C52FD201-0153-4BF5-868F-D4D67620383C}"/>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7FCE448D-418C-2A5F-A1A3-8A98761CF76A}"/>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606287967"/>
      </p:ext>
    </p:extLst>
  </p:cSld>
  <p:clrMap bg1="lt1" tx1="dk1" bg2="lt2" tx2="dk2" accent1="accent1" accent2="accent2" accent3="accent3" accent4="accent4" accent5="accent5" accent6="accent6" hlink="hlink" folHlink="folHlink"/>
  <p:sldLayoutIdLst>
    <p:sldLayoutId id="2147483742" r:id="rId1"/>
    <p:sldLayoutId id="2147483814" r:id="rId2"/>
    <p:sldLayoutId id="2147483815" r:id="rId3"/>
    <p:sldLayoutId id="2147483833" r:id="rId4"/>
    <p:sldLayoutId id="2147483827" r:id="rId5"/>
    <p:sldLayoutId id="2147483828" r:id="rId6"/>
    <p:sldLayoutId id="2147483829" r:id="rId7"/>
    <p:sldLayoutId id="2147483881" r:id="rId8"/>
    <p:sldLayoutId id="2147483882" r:id="rId9"/>
    <p:sldLayoutId id="2147483883" r:id="rId10"/>
    <p:sldLayoutId id="2147483884"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769"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1919A812-8BC6-45B6-AC1F-C0396845F39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9B6C9B6F-FA65-7036-8FA4-35FEF6BF24FF}"/>
              </a:ext>
            </a:extLst>
          </p:cNvPr>
          <p:cNvSpPr>
            <a:spLocks noGrp="1"/>
          </p:cNvSpPr>
          <p:nvPr>
            <p:ph type="sldNum" sz="quarter" idx="4"/>
          </p:nvPr>
        </p:nvSpPr>
        <p:spPr>
          <a:xfrm>
            <a:off x="9448800" y="6491557"/>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E112F761-781A-4F50-9DEE-CC804A409563}" type="slidenum">
              <a:rPr lang="nl-NL" smtClean="0"/>
              <a:pPr/>
              <a:t>‹#›</a:t>
            </a:fld>
            <a:endParaRPr lang="nl-NL"/>
          </a:p>
        </p:txBody>
      </p:sp>
    </p:spTree>
    <p:extLst>
      <p:ext uri="{BB962C8B-B14F-4D97-AF65-F5344CB8AC3E}">
        <p14:creationId xmlns:p14="http://schemas.microsoft.com/office/powerpoint/2010/main" val="727954729"/>
      </p:ext>
    </p:extLst>
  </p:cSld>
  <p:clrMap bg1="lt1" tx1="dk1" bg2="lt2" tx2="dk2" accent1="accent1" accent2="accent2" accent3="accent3" accent4="accent4" accent5="accent5" accent6="accent6" hlink="hlink" folHlink="folHlink"/>
  <p:sldLayoutIdLst>
    <p:sldLayoutId id="2147483734" r:id="rId1"/>
    <p:sldLayoutId id="2147483773" r:id="rId2"/>
    <p:sldLayoutId id="2147483774" r:id="rId3"/>
    <p:sldLayoutId id="2147484017" r:id="rId4"/>
    <p:sldLayoutId id="2147484018" r:id="rId5"/>
    <p:sldLayoutId id="2147484019" r:id="rId6"/>
    <p:sldLayoutId id="2147484021" r:id="rId7"/>
    <p:sldLayoutId id="2147484022" r:id="rId8"/>
    <p:sldLayoutId id="2147484023" r:id="rId9"/>
    <p:sldLayoutId id="2147484026" r:id="rId10"/>
    <p:sldLayoutId id="214748402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0E8F3440-0754-4B0B-9851-5EFDBEFA1ED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742FDE21-6DC1-0004-EA09-3865901B577B}"/>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3687066805"/>
      </p:ext>
    </p:extLst>
  </p:cSld>
  <p:clrMap bg1="lt1" tx1="dk1" bg2="lt2" tx2="dk2" accent1="accent1" accent2="accent2" accent3="accent3" accent4="accent4" accent5="accent5" accent6="accent6" hlink="hlink" folHlink="folHlink"/>
  <p:sldLayoutIdLst>
    <p:sldLayoutId id="2147483745" r:id="rId1"/>
    <p:sldLayoutId id="2147483776" r:id="rId2"/>
    <p:sldLayoutId id="2147483781" r:id="rId3"/>
    <p:sldLayoutId id="2147483839" r:id="rId4"/>
    <p:sldLayoutId id="2147483830" r:id="rId5"/>
    <p:sldLayoutId id="2147483831" r:id="rId6"/>
    <p:sldLayoutId id="2147483832" r:id="rId7"/>
    <p:sldLayoutId id="2147483889" r:id="rId8"/>
    <p:sldLayoutId id="2147483886" r:id="rId9"/>
    <p:sldLayoutId id="2147483887" r:id="rId10"/>
    <p:sldLayoutId id="2147483888"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78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06B67D6-D2AA-4CB5-BB14-6A217937A716}"/>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7044B2C8-22C2-B7B1-EBE4-1E2EB84840D7}"/>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3009645139"/>
      </p:ext>
    </p:extLst>
  </p:cSld>
  <p:clrMap bg1="lt1" tx1="dk1" bg2="lt2" tx2="dk2" accent1="accent1" accent2="accent2" accent3="accent3" accent4="accent4" accent5="accent5" accent6="accent6" hlink="hlink" folHlink="folHlink"/>
  <p:sldLayoutIdLst>
    <p:sldLayoutId id="2147483746" r:id="rId1"/>
    <p:sldLayoutId id="2147483841" r:id="rId2"/>
    <p:sldLayoutId id="2147483842" r:id="rId3"/>
    <p:sldLayoutId id="2147483840" r:id="rId4"/>
    <p:sldLayoutId id="2147483843" r:id="rId5"/>
    <p:sldLayoutId id="2147483803" r:id="rId6"/>
    <p:sldLayoutId id="2147483802" r:id="rId7"/>
    <p:sldLayoutId id="2147483895" r:id="rId8"/>
    <p:sldLayoutId id="2147483896" r:id="rId9"/>
    <p:sldLayoutId id="2147483897" r:id="rId10"/>
    <p:sldLayoutId id="2147483898"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804"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BC2915C-91CA-41FD-ADEC-0598F2C5F120}"/>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DDBBD520-749F-F108-FD0F-412BC9825A09}"/>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1369645148"/>
      </p:ext>
    </p:extLst>
  </p:cSld>
  <p:clrMap bg1="lt1" tx1="dk1" bg2="lt2" tx2="dk2" accent1="accent1" accent2="accent2" accent3="accent3" accent4="accent4" accent5="accent5" accent6="accent6" hlink="hlink" folHlink="folHlink"/>
  <p:sldLayoutIdLst>
    <p:sldLayoutId id="2147483785" r:id="rId1"/>
    <p:sldLayoutId id="2147483805" r:id="rId2"/>
    <p:sldLayoutId id="2147483806" r:id="rId3"/>
    <p:sldLayoutId id="2147483845" r:id="rId4"/>
    <p:sldLayoutId id="2147483846" r:id="rId5"/>
    <p:sldLayoutId id="2147483847" r:id="rId6"/>
    <p:sldLayoutId id="2147483848" r:id="rId7"/>
    <p:sldLayoutId id="2147483900" r:id="rId8"/>
    <p:sldLayoutId id="2147483901" r:id="rId9"/>
    <p:sldLayoutId id="2147483902" r:id="rId10"/>
    <p:sldLayoutId id="2147483903" r:id="rId11"/>
    <p:sldLayoutId id="2147483963" r:id="rId12"/>
    <p:sldLayoutId id="2147483967" r:id="rId13"/>
    <p:sldLayoutId id="2147483968" r:id="rId14"/>
    <p:sldLayoutId id="2147483969" r:id="rId15"/>
    <p:sldLayoutId id="2147483970" r:id="rId16"/>
    <p:sldLayoutId id="2147483964" r:id="rId17"/>
    <p:sldLayoutId id="2147483965" r:id="rId18"/>
    <p:sldLayoutId id="2147483966" r:id="rId19"/>
    <p:sldLayoutId id="2147483807"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F9674E2C-1072-4356-A07B-0A32BBDF922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AA884D24-E244-DD1B-B41D-6CCABA562D61}"/>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1560827226"/>
      </p:ext>
    </p:extLst>
  </p:cSld>
  <p:clrMap bg1="lt1" tx1="dk1" bg2="lt2" tx2="dk2" accent1="accent1" accent2="accent2" accent3="accent3" accent4="accent4" accent5="accent5" accent6="accent6" hlink="hlink" folHlink="folHlink"/>
  <p:sldLayoutIdLst>
    <p:sldLayoutId id="2147483748" r:id="rId1"/>
    <p:sldLayoutId id="2147483808" r:id="rId2"/>
    <p:sldLayoutId id="2147483809" r:id="rId3"/>
    <p:sldLayoutId id="2147483856" r:id="rId4"/>
    <p:sldLayoutId id="2147483853" r:id="rId5"/>
    <p:sldLayoutId id="2147483854" r:id="rId6"/>
    <p:sldLayoutId id="2147483855" r:id="rId7"/>
    <p:sldLayoutId id="2147483905" r:id="rId8"/>
    <p:sldLayoutId id="2147483906" r:id="rId9"/>
    <p:sldLayoutId id="2147483907" r:id="rId10"/>
    <p:sldLayoutId id="2147483908" r:id="rId11"/>
    <p:sldLayoutId id="2147483989" r:id="rId12"/>
    <p:sldLayoutId id="2147483990" r:id="rId13"/>
    <p:sldLayoutId id="2147483991" r:id="rId14"/>
    <p:sldLayoutId id="2147483992" r:id="rId15"/>
    <p:sldLayoutId id="2147483996" r:id="rId16"/>
    <p:sldLayoutId id="2147483993" r:id="rId17"/>
    <p:sldLayoutId id="2147483994" r:id="rId18"/>
    <p:sldLayoutId id="2147483995" r:id="rId19"/>
    <p:sldLayoutId id="214748381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D40E5C91-D701-4DF3-8EA8-6487D751F11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3">
            <a:extLst>
              <a:ext uri="{FF2B5EF4-FFF2-40B4-BE49-F238E27FC236}">
                <a16:creationId xmlns:a16="http://schemas.microsoft.com/office/drawing/2014/main" id="{DAB25C37-1360-1480-FFA7-1A3FD9B2391C}"/>
              </a:ext>
            </a:extLst>
          </p:cNvPr>
          <p:cNvSpPr>
            <a:spLocks noGrp="1"/>
          </p:cNvSpPr>
          <p:nvPr>
            <p:ph type="sldNum" sz="quarter" idx="4"/>
          </p:nvPr>
        </p:nvSpPr>
        <p:spPr>
          <a:xfrm>
            <a:off x="9431548" y="6482931"/>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76D3296C-7848-42A4-8F9B-BD5BB411D25F}" type="slidenum">
              <a:rPr lang="nl-NL" smtClean="0"/>
              <a:pPr/>
              <a:t>‹#›</a:t>
            </a:fld>
            <a:endParaRPr lang="nl-NL"/>
          </a:p>
        </p:txBody>
      </p:sp>
    </p:spTree>
    <p:extLst>
      <p:ext uri="{BB962C8B-B14F-4D97-AF65-F5344CB8AC3E}">
        <p14:creationId xmlns:p14="http://schemas.microsoft.com/office/powerpoint/2010/main" val="380743489"/>
      </p:ext>
    </p:extLst>
  </p:cSld>
  <p:clrMap bg1="lt1" tx1="dk1" bg2="lt2" tx2="dk2" accent1="accent1" accent2="accent2" accent3="accent3" accent4="accent4" accent5="accent5" accent6="accent6" hlink="hlink" folHlink="folHlink"/>
  <p:sldLayoutIdLst>
    <p:sldLayoutId id="2147483799" r:id="rId1"/>
    <p:sldLayoutId id="2147483811" r:id="rId2"/>
    <p:sldLayoutId id="2147483812" r:id="rId3"/>
    <p:sldLayoutId id="2147483861" r:id="rId4"/>
    <p:sldLayoutId id="2147483858" r:id="rId5"/>
    <p:sldLayoutId id="2147483859" r:id="rId6"/>
    <p:sldLayoutId id="2147483860" r:id="rId7"/>
    <p:sldLayoutId id="2147483910" r:id="rId8"/>
    <p:sldLayoutId id="2147483911" r:id="rId9"/>
    <p:sldLayoutId id="2147483912" r:id="rId10"/>
    <p:sldLayoutId id="2147483913"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813"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8A47195-4824-4907-8AE9-D7AD4BE08E28}"/>
              </a:ext>
            </a:extLst>
          </p:cNvPr>
          <p:cNvSpPr>
            <a:spLocks noGrp="1"/>
          </p:cNvSpPr>
          <p:nvPr>
            <p:ph type="title"/>
          </p:nvPr>
        </p:nvSpPr>
        <p:spPr/>
        <p:txBody>
          <a:bodyPr>
            <a:normAutofit/>
          </a:bodyPr>
          <a:lstStyle/>
          <a:p>
            <a:r>
              <a:rPr lang="en-US" sz="1800" b="1" cap="all">
                <a:solidFill>
                  <a:srgbClr val="00AEEF"/>
                </a:solidFill>
                <a:effectLst/>
                <a:latin typeface="Delivery" panose="020F0503020204020204" pitchFamily="34" charset="0"/>
                <a:ea typeface="Frutiger LT"/>
                <a:cs typeface="Frutiger LT"/>
              </a:rPr>
              <a:t>interview </a:t>
            </a:r>
            <a:r>
              <a:rPr lang="en-US" sz="1800" b="1" cap="all" dirty="0">
                <a:solidFill>
                  <a:srgbClr val="00AEEF"/>
                </a:solidFill>
                <a:effectLst/>
                <a:latin typeface="Delivery" panose="020F0503020204020204" pitchFamily="34" charset="0"/>
                <a:ea typeface="Frutiger LT"/>
                <a:cs typeface="Frutiger LT"/>
              </a:rPr>
              <a:t>Skills</a:t>
            </a:r>
            <a:endParaRPr lang="nl-NL" dirty="0"/>
          </a:p>
        </p:txBody>
      </p:sp>
      <p:sp>
        <p:nvSpPr>
          <p:cNvPr id="14" name="Text Placeholder 13">
            <a:extLst>
              <a:ext uri="{FF2B5EF4-FFF2-40B4-BE49-F238E27FC236}">
                <a16:creationId xmlns:a16="http://schemas.microsoft.com/office/drawing/2014/main" id="{887328E7-1ABA-4A97-BD13-05DA9C2D8B9D}"/>
              </a:ext>
            </a:extLst>
          </p:cNvPr>
          <p:cNvSpPr>
            <a:spLocks noGrp="1"/>
          </p:cNvSpPr>
          <p:nvPr>
            <p:ph type="body" sz="quarter" idx="10"/>
          </p:nvPr>
        </p:nvSpPr>
        <p:spPr/>
        <p:txBody>
          <a:bodyPr>
            <a:normAutofit fontScale="92500" lnSpcReduction="10000"/>
          </a:bodyPr>
          <a:lstStyle/>
          <a:p>
            <a:r>
              <a:rPr lang="nl-NL" dirty="0"/>
              <a:t>Workbook</a:t>
            </a:r>
          </a:p>
        </p:txBody>
      </p:sp>
    </p:spTree>
    <p:extLst>
      <p:ext uri="{BB962C8B-B14F-4D97-AF65-F5344CB8AC3E}">
        <p14:creationId xmlns:p14="http://schemas.microsoft.com/office/powerpoint/2010/main" val="2338473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group of people posing for a photo&#10;&#10;Description automatically generated with medium confidence">
            <a:extLst>
              <a:ext uri="{FF2B5EF4-FFF2-40B4-BE49-F238E27FC236}">
                <a16:creationId xmlns:a16="http://schemas.microsoft.com/office/drawing/2014/main" id="{66B14D73-1853-EFD7-BB7A-2A2DAF5962A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4455" r="24455"/>
          <a:stretch>
            <a:fillRect/>
          </a:stretch>
        </p:blipFill>
        <p:spPr/>
      </p:pic>
      <p:sp>
        <p:nvSpPr>
          <p:cNvPr id="4" name="Text Placeholder 3">
            <a:extLst>
              <a:ext uri="{FF2B5EF4-FFF2-40B4-BE49-F238E27FC236}">
                <a16:creationId xmlns:a16="http://schemas.microsoft.com/office/drawing/2014/main" id="{CF6CC01A-D8F6-4AE1-A79C-B9423066DA29}"/>
              </a:ext>
            </a:extLst>
          </p:cNvPr>
          <p:cNvSpPr>
            <a:spLocks noGrp="1"/>
          </p:cNvSpPr>
          <p:nvPr>
            <p:ph type="body" sz="quarter" idx="11"/>
          </p:nvPr>
        </p:nvSpPr>
        <p:spPr>
          <a:xfrm>
            <a:off x="427267" y="2971800"/>
            <a:ext cx="8003183" cy="914400"/>
          </a:xfrm>
        </p:spPr>
        <p:txBody>
          <a:bodyPr/>
          <a:lstStyle/>
          <a:p>
            <a:pPr marL="457200" indent="-457200">
              <a:buFont typeface="Arial" panose="020B0604020202020204" pitchFamily="34" charset="0"/>
              <a:buChar char="•"/>
            </a:pPr>
            <a:r>
              <a:rPr lang="nl-NL" dirty="0"/>
              <a:t>Prepare for a job interview</a:t>
            </a:r>
          </a:p>
        </p:txBody>
      </p:sp>
      <p:sp>
        <p:nvSpPr>
          <p:cNvPr id="5" name="Slide Number Placeholder 4">
            <a:extLst>
              <a:ext uri="{FF2B5EF4-FFF2-40B4-BE49-F238E27FC236}">
                <a16:creationId xmlns:a16="http://schemas.microsoft.com/office/drawing/2014/main" id="{537ADB38-BEC5-BDE5-D5DC-B54C8544946B}"/>
              </a:ext>
            </a:extLst>
          </p:cNvPr>
          <p:cNvSpPr>
            <a:spLocks noGrp="1"/>
          </p:cNvSpPr>
          <p:nvPr>
            <p:ph type="sldNum" sz="quarter" idx="15"/>
          </p:nvPr>
        </p:nvSpPr>
        <p:spPr/>
        <p:txBody>
          <a:bodyPr/>
          <a:lstStyle/>
          <a:p>
            <a:fld id="{76D3296C-7848-42A4-8F9B-BD5BB411D25F}" type="slidenum">
              <a:rPr lang="nl-NL" smtClean="0"/>
              <a:pPr/>
              <a:t>2</a:t>
            </a:fld>
            <a:endParaRPr lang="nl-NL"/>
          </a:p>
        </p:txBody>
      </p:sp>
    </p:spTree>
    <p:extLst>
      <p:ext uri="{BB962C8B-B14F-4D97-AF65-F5344CB8AC3E}">
        <p14:creationId xmlns:p14="http://schemas.microsoft.com/office/powerpoint/2010/main" val="1456632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EF7-E0C1-C8F4-2CA0-AEE3DE5CF4B0}"/>
              </a:ext>
            </a:extLst>
          </p:cNvPr>
          <p:cNvSpPr>
            <a:spLocks noGrp="1"/>
          </p:cNvSpPr>
          <p:nvPr>
            <p:ph type="title"/>
          </p:nvPr>
        </p:nvSpPr>
        <p:spPr/>
        <p:txBody>
          <a:bodyPr/>
          <a:lstStyle/>
          <a:p>
            <a:r>
              <a:rPr lang="en-US" cap="all" dirty="0"/>
              <a:t>Practice with STAR (PART 1)</a:t>
            </a:r>
          </a:p>
        </p:txBody>
      </p:sp>
      <p:sp>
        <p:nvSpPr>
          <p:cNvPr id="3" name="Text Placeholder 2">
            <a:extLst>
              <a:ext uri="{FF2B5EF4-FFF2-40B4-BE49-F238E27FC236}">
                <a16:creationId xmlns:a16="http://schemas.microsoft.com/office/drawing/2014/main" id="{71F8702A-8137-5837-F31F-E1603C466283}"/>
              </a:ext>
            </a:extLst>
          </p:cNvPr>
          <p:cNvSpPr>
            <a:spLocks noGrp="1"/>
          </p:cNvSpPr>
          <p:nvPr>
            <p:ph type="body" sz="quarter" idx="10"/>
          </p:nvPr>
        </p:nvSpPr>
        <p:spPr/>
        <p:txBody>
          <a:bodyPr/>
          <a:lstStyle/>
          <a:p>
            <a:r>
              <a:rPr lang="en-US" dirty="0"/>
              <a:t>Individual activity</a:t>
            </a:r>
          </a:p>
        </p:txBody>
      </p:sp>
      <p:sp>
        <p:nvSpPr>
          <p:cNvPr id="4" name="Text Placeholder 3">
            <a:extLst>
              <a:ext uri="{FF2B5EF4-FFF2-40B4-BE49-F238E27FC236}">
                <a16:creationId xmlns:a16="http://schemas.microsoft.com/office/drawing/2014/main" id="{DE2CE4B0-7495-FB4F-57B5-69B75624F3DA}"/>
              </a:ext>
            </a:extLst>
          </p:cNvPr>
          <p:cNvSpPr>
            <a:spLocks noGrp="1"/>
          </p:cNvSpPr>
          <p:nvPr>
            <p:ph type="body" sz="quarter" idx="11"/>
          </p:nvPr>
        </p:nvSpPr>
        <p:spPr/>
        <p:txBody>
          <a:bodyPr/>
          <a:lstStyle/>
          <a:p>
            <a:r>
              <a:rPr lang="en-US" dirty="0"/>
              <a:t>10 minutes for answers</a:t>
            </a:r>
          </a:p>
          <a:p>
            <a:r>
              <a:rPr lang="en-US" dirty="0"/>
              <a:t>10 minutes to practice</a:t>
            </a:r>
          </a:p>
        </p:txBody>
      </p:sp>
      <p:sp>
        <p:nvSpPr>
          <p:cNvPr id="5" name="Text Placeholder 4">
            <a:extLst>
              <a:ext uri="{FF2B5EF4-FFF2-40B4-BE49-F238E27FC236}">
                <a16:creationId xmlns:a16="http://schemas.microsoft.com/office/drawing/2014/main" id="{E79BE60A-CDBD-869C-4683-207046B2F5B7}"/>
              </a:ext>
            </a:extLst>
          </p:cNvPr>
          <p:cNvSpPr>
            <a:spLocks noGrp="1"/>
          </p:cNvSpPr>
          <p:nvPr>
            <p:ph type="body" sz="quarter" idx="12"/>
          </p:nvPr>
        </p:nvSpPr>
        <p:spPr>
          <a:xfrm>
            <a:off x="1879600" y="2963177"/>
            <a:ext cx="7745663" cy="1547004"/>
          </a:xfrm>
        </p:spPr>
        <p:txBody>
          <a:bodyPr/>
          <a:lstStyle/>
          <a:p>
            <a:pPr marL="342900" indent="-342900" algn="l">
              <a:buFont typeface="Arial" panose="020B0604020202020204" pitchFamily="34" charset="0"/>
              <a:buChar char="•"/>
            </a:pPr>
            <a:r>
              <a:rPr lang="en-US" dirty="0">
                <a:solidFill>
                  <a:srgbClr val="444444"/>
                </a:solidFill>
              </a:rPr>
              <a:t>You will receive 2 questions</a:t>
            </a:r>
          </a:p>
          <a:p>
            <a:pPr marL="342900" indent="-342900" algn="l">
              <a:buFont typeface="Arial" panose="020B0604020202020204" pitchFamily="34" charset="0"/>
              <a:buChar char="•"/>
            </a:pPr>
            <a:r>
              <a:rPr lang="en-US" b="0" i="0" dirty="0">
                <a:solidFill>
                  <a:srgbClr val="444444"/>
                </a:solidFill>
                <a:effectLst/>
              </a:rPr>
              <a:t>Write down your answer in STAR method</a:t>
            </a:r>
          </a:p>
          <a:p>
            <a:pPr marL="342900" indent="-342900" algn="l">
              <a:buFont typeface="Arial" panose="020B0604020202020204" pitchFamily="34" charset="0"/>
              <a:buChar char="•"/>
            </a:pPr>
            <a:r>
              <a:rPr lang="en-US" dirty="0">
                <a:solidFill>
                  <a:srgbClr val="444444"/>
                </a:solidFill>
              </a:rPr>
              <a:t>Let’s practice</a:t>
            </a:r>
          </a:p>
        </p:txBody>
      </p:sp>
      <p:sp>
        <p:nvSpPr>
          <p:cNvPr id="6" name="Oval 5">
            <a:extLst>
              <a:ext uri="{FF2B5EF4-FFF2-40B4-BE49-F238E27FC236}">
                <a16:creationId xmlns:a16="http://schemas.microsoft.com/office/drawing/2014/main" id="{D918F152-2037-26CC-7D36-DE966F25A9F6}"/>
              </a:ext>
            </a:extLst>
          </p:cNvPr>
          <p:cNvSpPr/>
          <p:nvPr/>
        </p:nvSpPr>
        <p:spPr>
          <a:xfrm>
            <a:off x="7567136" y="2963177"/>
            <a:ext cx="4866820" cy="504743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7" name="Google Shape;715;p23">
            <a:extLst>
              <a:ext uri="{FF2B5EF4-FFF2-40B4-BE49-F238E27FC236}">
                <a16:creationId xmlns:a16="http://schemas.microsoft.com/office/drawing/2014/main" id="{67F36A1F-1B40-4DD6-504F-7739D0B57A51}"/>
              </a:ext>
            </a:extLst>
          </p:cNvPr>
          <p:cNvSpPr txBox="1"/>
          <p:nvPr/>
        </p:nvSpPr>
        <p:spPr>
          <a:xfrm>
            <a:off x="8619501" y="4483589"/>
            <a:ext cx="793206" cy="506313"/>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8000"/>
              <a:buFont typeface="Arial"/>
              <a:buNone/>
            </a:pPr>
            <a:r>
              <a:rPr lang="en-GB" sz="44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T</a:t>
            </a:r>
            <a:endParaRPr sz="4400" dirty="0">
              <a:latin typeface="Delivery" panose="020F0503020204020204" pitchFamily="34" charset="0"/>
              <a:ea typeface="Delivery" panose="020F0503020204020204" pitchFamily="34" charset="0"/>
              <a:cs typeface="Delivery" panose="020F0503020204020204" pitchFamily="34" charset="0"/>
            </a:endParaRPr>
          </a:p>
        </p:txBody>
      </p:sp>
      <p:sp>
        <p:nvSpPr>
          <p:cNvPr id="8" name="Google Shape;716;p23">
            <a:extLst>
              <a:ext uri="{FF2B5EF4-FFF2-40B4-BE49-F238E27FC236}">
                <a16:creationId xmlns:a16="http://schemas.microsoft.com/office/drawing/2014/main" id="{2993B630-D956-A91C-DDD8-7B94DD272C00}"/>
              </a:ext>
            </a:extLst>
          </p:cNvPr>
          <p:cNvSpPr txBox="1"/>
          <p:nvPr/>
        </p:nvSpPr>
        <p:spPr>
          <a:xfrm>
            <a:off x="8613916" y="5213473"/>
            <a:ext cx="793206" cy="607778"/>
          </a:xfrm>
          <a:prstGeom prst="rect">
            <a:avLst/>
          </a:prstGeom>
          <a:noFill/>
          <a:ln>
            <a:noFill/>
          </a:ln>
        </p:spPr>
        <p:txBody>
          <a:bodyPr spcFirstLastPara="1" wrap="square" lIns="0" tIns="0" rIns="0" bIns="0" anchor="t" anchorCtr="0">
            <a:normAutofit/>
          </a:bodyPr>
          <a:lstStyle/>
          <a:p>
            <a:pPr marL="0" marR="0" lvl="0" indent="0" algn="l" rtl="0">
              <a:lnSpc>
                <a:spcPct val="90000"/>
              </a:lnSpc>
              <a:spcBef>
                <a:spcPts val="0"/>
              </a:spcBef>
              <a:spcAft>
                <a:spcPts val="0"/>
              </a:spcAft>
              <a:buClr>
                <a:schemeClr val="dk1"/>
              </a:buClr>
              <a:buSzPts val="8000"/>
              <a:buFont typeface="Arial"/>
              <a:buNone/>
            </a:pPr>
            <a:r>
              <a:rPr lang="en-GB" sz="44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A</a:t>
            </a:r>
            <a:endParaRPr sz="4400" dirty="0">
              <a:latin typeface="Delivery" panose="020F0503020204020204" pitchFamily="34" charset="0"/>
              <a:ea typeface="Delivery" panose="020F0503020204020204" pitchFamily="34" charset="0"/>
              <a:cs typeface="Delivery" panose="020F0503020204020204" pitchFamily="34" charset="0"/>
            </a:endParaRPr>
          </a:p>
        </p:txBody>
      </p:sp>
      <p:sp>
        <p:nvSpPr>
          <p:cNvPr id="9" name="Google Shape;717;p23">
            <a:extLst>
              <a:ext uri="{FF2B5EF4-FFF2-40B4-BE49-F238E27FC236}">
                <a16:creationId xmlns:a16="http://schemas.microsoft.com/office/drawing/2014/main" id="{E4CF00F8-1EC8-53A7-9335-9F6FDD8E661C}"/>
              </a:ext>
            </a:extLst>
          </p:cNvPr>
          <p:cNvSpPr txBox="1"/>
          <p:nvPr/>
        </p:nvSpPr>
        <p:spPr>
          <a:xfrm>
            <a:off x="8628972" y="6044823"/>
            <a:ext cx="793206" cy="571167"/>
          </a:xfrm>
          <a:prstGeom prst="rect">
            <a:avLst/>
          </a:prstGeom>
          <a:noFill/>
          <a:ln>
            <a:noFill/>
          </a:ln>
        </p:spPr>
        <p:txBody>
          <a:bodyPr spcFirstLastPara="1" wrap="square" lIns="0" tIns="0" rIns="0" bIns="0" anchor="t" anchorCtr="0">
            <a:normAutofit lnSpcReduction="10000"/>
          </a:bodyPr>
          <a:lstStyle/>
          <a:p>
            <a:pPr marL="0" marR="0" lvl="0" indent="0" algn="l" rtl="0">
              <a:lnSpc>
                <a:spcPct val="90000"/>
              </a:lnSpc>
              <a:spcBef>
                <a:spcPts val="0"/>
              </a:spcBef>
              <a:spcAft>
                <a:spcPts val="0"/>
              </a:spcAft>
              <a:buClr>
                <a:schemeClr val="dk1"/>
              </a:buClr>
              <a:buSzPts val="8000"/>
              <a:buFont typeface="Arial"/>
              <a:buNone/>
            </a:pPr>
            <a:r>
              <a:rPr lang="en-GB" sz="44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R</a:t>
            </a:r>
            <a:endParaRPr sz="4400" dirty="0">
              <a:latin typeface="Delivery" panose="020F0503020204020204" pitchFamily="34" charset="0"/>
              <a:ea typeface="Delivery" panose="020F0503020204020204" pitchFamily="34" charset="0"/>
              <a:cs typeface="Delivery" panose="020F0503020204020204" pitchFamily="34" charset="0"/>
            </a:endParaRPr>
          </a:p>
        </p:txBody>
      </p:sp>
      <p:sp>
        <p:nvSpPr>
          <p:cNvPr id="10" name="Google Shape;718;p23">
            <a:extLst>
              <a:ext uri="{FF2B5EF4-FFF2-40B4-BE49-F238E27FC236}">
                <a16:creationId xmlns:a16="http://schemas.microsoft.com/office/drawing/2014/main" id="{1C0EDD83-408B-47BA-BCC9-9E3F63EA33D0}"/>
              </a:ext>
            </a:extLst>
          </p:cNvPr>
          <p:cNvSpPr txBox="1"/>
          <p:nvPr/>
        </p:nvSpPr>
        <p:spPr>
          <a:xfrm>
            <a:off x="9058421" y="3856547"/>
            <a:ext cx="2569874" cy="403470"/>
          </a:xfrm>
          <a:prstGeom prst="rect">
            <a:avLst/>
          </a:prstGeom>
          <a:noFill/>
          <a:ln>
            <a:noFill/>
          </a:ln>
        </p:spPr>
        <p:txBody>
          <a:bodyPr spcFirstLastPara="1" wrap="square" lIns="0" tIns="0" rIns="0" bIns="0" anchor="t" anchorCtr="0">
            <a:normAutofit/>
          </a:bodyPr>
          <a:lstStyle/>
          <a:p>
            <a:pPr marL="0" marR="0" lvl="0" indent="0" algn="l" rtl="0">
              <a:lnSpc>
                <a:spcPct val="90000"/>
              </a:lnSpc>
              <a:spcBef>
                <a:spcPts val="0"/>
              </a:spcBef>
              <a:spcAft>
                <a:spcPts val="0"/>
              </a:spcAft>
              <a:buClr>
                <a:schemeClr val="dk1"/>
              </a:buClr>
              <a:buSzPts val="2800"/>
              <a:buFont typeface="Arial"/>
              <a:buNone/>
            </a:pPr>
            <a:r>
              <a:rPr lang="en-GB" sz="11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Situation: </a:t>
            </a:r>
          </a:p>
          <a:p>
            <a:pPr marL="0" marR="0" lvl="0" indent="0" algn="l" rtl="0">
              <a:lnSpc>
                <a:spcPct val="90000"/>
              </a:lnSpc>
              <a:spcBef>
                <a:spcPts val="0"/>
              </a:spcBef>
              <a:spcAft>
                <a:spcPts val="0"/>
              </a:spcAft>
              <a:buClr>
                <a:schemeClr val="dk1"/>
              </a:buClr>
              <a:buSzPts val="2800"/>
              <a:buFont typeface="Arial"/>
              <a:buNone/>
            </a:pPr>
            <a:r>
              <a:rPr lang="en-GB" sz="1100" dirty="0">
                <a:latin typeface="Delivery" panose="020F0503020204020204" pitchFamily="34" charset="0"/>
                <a:ea typeface="Delivery" panose="020F0503020204020204" pitchFamily="34" charset="0"/>
                <a:cs typeface="Delivery" panose="020F0503020204020204" pitchFamily="34" charset="0"/>
                <a:sym typeface="Arial"/>
              </a:rPr>
              <a:t>S</a:t>
            </a:r>
            <a:r>
              <a:rPr lang="en-GB" sz="1100"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et the scene</a:t>
            </a:r>
            <a:endParaRPr sz="1100"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11" name="Google Shape;719;p23">
            <a:extLst>
              <a:ext uri="{FF2B5EF4-FFF2-40B4-BE49-F238E27FC236}">
                <a16:creationId xmlns:a16="http://schemas.microsoft.com/office/drawing/2014/main" id="{24B2AFF2-770E-43BB-C30D-8B56AC6162DB}"/>
              </a:ext>
            </a:extLst>
          </p:cNvPr>
          <p:cNvSpPr txBox="1"/>
          <p:nvPr/>
        </p:nvSpPr>
        <p:spPr>
          <a:xfrm>
            <a:off x="9058421" y="4595560"/>
            <a:ext cx="2018074" cy="358177"/>
          </a:xfrm>
          <a:prstGeom prst="rect">
            <a:avLst/>
          </a:prstGeom>
          <a:noFill/>
          <a:ln>
            <a:noFill/>
          </a:ln>
        </p:spPr>
        <p:txBody>
          <a:bodyPr spcFirstLastPara="1" wrap="square" lIns="0" tIns="0" rIns="0" bIns="0" anchor="t" anchorCtr="0">
            <a:normAutofit fontScale="92500"/>
          </a:bodyPr>
          <a:lstStyle/>
          <a:p>
            <a:pPr marL="0" marR="0" lvl="0" indent="0" algn="l" rtl="0">
              <a:lnSpc>
                <a:spcPct val="90000"/>
              </a:lnSpc>
              <a:spcBef>
                <a:spcPts val="0"/>
              </a:spcBef>
              <a:spcAft>
                <a:spcPts val="0"/>
              </a:spcAft>
              <a:buClr>
                <a:schemeClr val="dk1"/>
              </a:buClr>
              <a:buSzPts val="2800"/>
              <a:buFont typeface="Arial"/>
              <a:buNone/>
            </a:pPr>
            <a:r>
              <a:rPr lang="en-GB" sz="12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Task: </a:t>
            </a:r>
          </a:p>
          <a:p>
            <a:pPr marL="0" marR="0" lvl="0" indent="0" algn="l" rtl="0">
              <a:lnSpc>
                <a:spcPct val="90000"/>
              </a:lnSpc>
              <a:spcBef>
                <a:spcPts val="0"/>
              </a:spcBef>
              <a:spcAft>
                <a:spcPts val="0"/>
              </a:spcAft>
              <a:buClr>
                <a:schemeClr val="dk1"/>
              </a:buClr>
              <a:buSzPts val="2800"/>
              <a:buFont typeface="Arial"/>
              <a:buNone/>
            </a:pPr>
            <a:r>
              <a:rPr lang="en-GB" sz="1200" dirty="0">
                <a:latin typeface="Delivery" panose="020F0503020204020204" pitchFamily="34" charset="0"/>
                <a:ea typeface="Delivery" panose="020F0503020204020204" pitchFamily="34" charset="0"/>
                <a:cs typeface="Delivery" panose="020F0503020204020204" pitchFamily="34" charset="0"/>
                <a:sym typeface="Arial"/>
              </a:rPr>
              <a:t>D</a:t>
            </a:r>
            <a:r>
              <a:rPr lang="en-GB" sz="1200" b="0"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escribe the problem you faced</a:t>
            </a:r>
            <a:endParaRPr sz="1200" b="1"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12" name="Google Shape;720;p23">
            <a:extLst>
              <a:ext uri="{FF2B5EF4-FFF2-40B4-BE49-F238E27FC236}">
                <a16:creationId xmlns:a16="http://schemas.microsoft.com/office/drawing/2014/main" id="{3ED0D647-14E2-E01A-814F-7A61E61C5CF4}"/>
              </a:ext>
            </a:extLst>
          </p:cNvPr>
          <p:cNvSpPr txBox="1"/>
          <p:nvPr/>
        </p:nvSpPr>
        <p:spPr>
          <a:xfrm>
            <a:off x="9058421" y="5354833"/>
            <a:ext cx="2683792" cy="348341"/>
          </a:xfrm>
          <a:prstGeom prst="rect">
            <a:avLst/>
          </a:prstGeom>
          <a:noFill/>
          <a:ln>
            <a:noFill/>
          </a:ln>
        </p:spPr>
        <p:txBody>
          <a:bodyPr spcFirstLastPara="1" wrap="square" lIns="0" tIns="0" rIns="0" bIns="0" anchor="t" anchorCtr="0">
            <a:normAutofit/>
          </a:bodyPr>
          <a:lstStyle/>
          <a:p>
            <a:pPr marL="0" marR="0" lvl="0" indent="0" algn="l" rtl="0">
              <a:lnSpc>
                <a:spcPct val="90000"/>
              </a:lnSpc>
              <a:spcBef>
                <a:spcPts val="0"/>
              </a:spcBef>
              <a:spcAft>
                <a:spcPts val="0"/>
              </a:spcAft>
              <a:buClr>
                <a:schemeClr val="dk1"/>
              </a:buClr>
              <a:buSzPts val="2800"/>
              <a:buFont typeface="Arial"/>
              <a:buNone/>
            </a:pPr>
            <a:r>
              <a:rPr lang="en-GB" sz="11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Action: </a:t>
            </a:r>
          </a:p>
          <a:p>
            <a:pPr marL="0" marR="0" lvl="0" indent="0" algn="l" rtl="0">
              <a:lnSpc>
                <a:spcPct val="90000"/>
              </a:lnSpc>
              <a:spcBef>
                <a:spcPts val="0"/>
              </a:spcBef>
              <a:spcAft>
                <a:spcPts val="0"/>
              </a:spcAft>
              <a:buClr>
                <a:schemeClr val="dk1"/>
              </a:buClr>
              <a:buSzPts val="2800"/>
              <a:buFont typeface="Arial"/>
              <a:buNone/>
            </a:pPr>
            <a:r>
              <a:rPr lang="en-GB" sz="1100" dirty="0">
                <a:latin typeface="Delivery" panose="020F0503020204020204" pitchFamily="34" charset="0"/>
                <a:ea typeface="Delivery" panose="020F0503020204020204" pitchFamily="34" charset="0"/>
                <a:cs typeface="Delivery" panose="020F0503020204020204" pitchFamily="34" charset="0"/>
                <a:sym typeface="Arial"/>
              </a:rPr>
              <a:t>E</a:t>
            </a:r>
            <a:r>
              <a:rPr lang="en-GB" sz="1100" b="0"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xplain the action you took</a:t>
            </a:r>
            <a:endParaRPr sz="1100" b="1"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13" name="Google Shape;715;p23">
            <a:extLst>
              <a:ext uri="{FF2B5EF4-FFF2-40B4-BE49-F238E27FC236}">
                <a16:creationId xmlns:a16="http://schemas.microsoft.com/office/drawing/2014/main" id="{10CAEBED-D007-FCFC-CC50-8C173CE732F2}"/>
              </a:ext>
            </a:extLst>
          </p:cNvPr>
          <p:cNvSpPr txBox="1"/>
          <p:nvPr/>
        </p:nvSpPr>
        <p:spPr>
          <a:xfrm>
            <a:off x="8613916" y="3704788"/>
            <a:ext cx="458270" cy="555230"/>
          </a:xfrm>
          <a:prstGeom prst="rect">
            <a:avLst/>
          </a:prstGeom>
          <a:noFill/>
          <a:ln>
            <a:noFill/>
          </a:ln>
        </p:spPr>
        <p:txBody>
          <a:bodyPr spcFirstLastPara="1" wrap="square" lIns="0" tIns="0" rIns="0" bIns="0" anchor="t" anchorCtr="0">
            <a:normAutofit lnSpcReduction="10000"/>
          </a:bodyPr>
          <a:lstStyle/>
          <a:p>
            <a:pPr marL="0" marR="0" lvl="0" indent="0" rtl="0">
              <a:lnSpc>
                <a:spcPct val="90000"/>
              </a:lnSpc>
              <a:spcBef>
                <a:spcPts val="0"/>
              </a:spcBef>
              <a:spcAft>
                <a:spcPts val="0"/>
              </a:spcAft>
              <a:buClr>
                <a:schemeClr val="dk1"/>
              </a:buClr>
              <a:buSzPts val="8000"/>
              <a:buFont typeface="Arial"/>
              <a:buNone/>
            </a:pPr>
            <a:r>
              <a:rPr lang="en-GB" sz="44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S</a:t>
            </a:r>
            <a:endParaRPr sz="4400" dirty="0">
              <a:latin typeface="Delivery" panose="020F0503020204020204" pitchFamily="34" charset="0"/>
              <a:ea typeface="Delivery" panose="020F0503020204020204" pitchFamily="34" charset="0"/>
              <a:cs typeface="Delivery" panose="020F0503020204020204" pitchFamily="34" charset="0"/>
            </a:endParaRPr>
          </a:p>
        </p:txBody>
      </p:sp>
      <p:sp>
        <p:nvSpPr>
          <p:cNvPr id="14" name="Google Shape;721;p23">
            <a:extLst>
              <a:ext uri="{FF2B5EF4-FFF2-40B4-BE49-F238E27FC236}">
                <a16:creationId xmlns:a16="http://schemas.microsoft.com/office/drawing/2014/main" id="{047C40F6-710C-D00C-36BD-D6777AE88D8F}"/>
              </a:ext>
            </a:extLst>
          </p:cNvPr>
          <p:cNvSpPr txBox="1"/>
          <p:nvPr/>
        </p:nvSpPr>
        <p:spPr>
          <a:xfrm>
            <a:off x="9058421" y="6114090"/>
            <a:ext cx="3050684" cy="389714"/>
          </a:xfrm>
          <a:prstGeom prst="rect">
            <a:avLst/>
          </a:prstGeom>
          <a:noFill/>
          <a:ln>
            <a:noFill/>
          </a:ln>
        </p:spPr>
        <p:txBody>
          <a:bodyPr spcFirstLastPara="1" wrap="square" lIns="0" tIns="0" rIns="0" bIns="0" anchor="t" anchorCtr="0">
            <a:normAutofit/>
          </a:bodyPr>
          <a:lstStyle/>
          <a:p>
            <a:pPr marL="0" marR="0" lvl="0" indent="0" algn="l" rtl="0">
              <a:lnSpc>
                <a:spcPct val="90000"/>
              </a:lnSpc>
              <a:spcBef>
                <a:spcPts val="0"/>
              </a:spcBef>
              <a:spcAft>
                <a:spcPts val="0"/>
              </a:spcAft>
              <a:buClr>
                <a:schemeClr val="dk1"/>
              </a:buClr>
              <a:buSzPts val="2800"/>
              <a:buFont typeface="Arial"/>
              <a:buNone/>
            </a:pPr>
            <a:r>
              <a:rPr lang="en-GB" sz="1100" b="1" dirty="0">
                <a:solidFill>
                  <a:schemeClr val="dk1"/>
                </a:solidFill>
                <a:latin typeface="Delivery" panose="020F0503020204020204" pitchFamily="34" charset="0"/>
                <a:ea typeface="Delivery" panose="020F0503020204020204" pitchFamily="34" charset="0"/>
                <a:cs typeface="Delivery" panose="020F0503020204020204" pitchFamily="34" charset="0"/>
                <a:sym typeface="Arial"/>
              </a:rPr>
              <a:t>Result: </a:t>
            </a:r>
          </a:p>
          <a:p>
            <a:pPr marL="0" marR="0" lvl="0" indent="0" algn="l" rtl="0">
              <a:lnSpc>
                <a:spcPct val="90000"/>
              </a:lnSpc>
              <a:spcBef>
                <a:spcPts val="0"/>
              </a:spcBef>
              <a:spcAft>
                <a:spcPts val="0"/>
              </a:spcAft>
              <a:buClr>
                <a:schemeClr val="dk1"/>
              </a:buClr>
              <a:buSzPts val="2800"/>
              <a:buFont typeface="Arial"/>
              <a:buNone/>
            </a:pPr>
            <a:r>
              <a:rPr lang="en-GB" sz="1100" dirty="0">
                <a:latin typeface="Delivery" panose="020F0503020204020204" pitchFamily="34" charset="0"/>
                <a:ea typeface="Delivery" panose="020F0503020204020204" pitchFamily="34" charset="0"/>
                <a:cs typeface="Delivery" panose="020F0503020204020204" pitchFamily="34" charset="0"/>
                <a:sym typeface="Arial"/>
              </a:rPr>
              <a:t>E</a:t>
            </a:r>
            <a:r>
              <a:rPr lang="en-GB" sz="1100" b="0"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xplain what happened as a result of your actions</a:t>
            </a:r>
            <a:endParaRPr sz="1100" b="1" dirty="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15" name="Slide Number Placeholder 14">
            <a:extLst>
              <a:ext uri="{FF2B5EF4-FFF2-40B4-BE49-F238E27FC236}">
                <a16:creationId xmlns:a16="http://schemas.microsoft.com/office/drawing/2014/main" id="{0F802F84-830C-92CB-204D-0BFB0A3846E8}"/>
              </a:ext>
            </a:extLst>
          </p:cNvPr>
          <p:cNvSpPr>
            <a:spLocks noGrp="1"/>
          </p:cNvSpPr>
          <p:nvPr>
            <p:ph type="sldNum" sz="quarter" idx="13"/>
          </p:nvPr>
        </p:nvSpPr>
        <p:spPr/>
        <p:txBody>
          <a:bodyPr/>
          <a:lstStyle/>
          <a:p>
            <a:fld id="{76D3296C-7848-42A4-8F9B-BD5BB411D25F}" type="slidenum">
              <a:rPr lang="nl-NL" smtClean="0"/>
              <a:pPr/>
              <a:t>3</a:t>
            </a:fld>
            <a:endParaRPr lang="nl-NL"/>
          </a:p>
        </p:txBody>
      </p:sp>
    </p:spTree>
    <p:extLst>
      <p:ext uri="{BB962C8B-B14F-4D97-AF65-F5344CB8AC3E}">
        <p14:creationId xmlns:p14="http://schemas.microsoft.com/office/powerpoint/2010/main" val="1152412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086C32-0630-C77D-8D98-FAAB3000A5A1}"/>
              </a:ext>
            </a:extLst>
          </p:cNvPr>
          <p:cNvSpPr>
            <a:spLocks noGrp="1"/>
          </p:cNvSpPr>
          <p:nvPr>
            <p:ph type="title"/>
          </p:nvPr>
        </p:nvSpPr>
        <p:spPr/>
        <p:txBody>
          <a:bodyPr/>
          <a:lstStyle/>
          <a:p>
            <a:r>
              <a:rPr lang="en-US" cap="all" dirty="0"/>
              <a:t>What WOULD YOU Answer?</a:t>
            </a:r>
          </a:p>
        </p:txBody>
      </p:sp>
      <p:sp>
        <p:nvSpPr>
          <p:cNvPr id="4" name="Rectangle: Rounded Corners 3">
            <a:extLst>
              <a:ext uri="{FF2B5EF4-FFF2-40B4-BE49-F238E27FC236}">
                <a16:creationId xmlns:a16="http://schemas.microsoft.com/office/drawing/2014/main" id="{29574F03-EA55-A695-3F2C-CA0A24D5312A}"/>
              </a:ext>
            </a:extLst>
          </p:cNvPr>
          <p:cNvSpPr/>
          <p:nvPr/>
        </p:nvSpPr>
        <p:spPr>
          <a:xfrm>
            <a:off x="145647" y="1179404"/>
            <a:ext cx="11926280" cy="5446843"/>
          </a:xfrm>
          <a:prstGeom prst="roundRect">
            <a:avLst/>
          </a:prstGeom>
          <a:solidFill>
            <a:schemeClr val="bg1"/>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F482F38-CB6C-FC92-3ACF-B6DDA541BB3D}"/>
              </a:ext>
            </a:extLst>
          </p:cNvPr>
          <p:cNvSpPr txBox="1"/>
          <p:nvPr/>
        </p:nvSpPr>
        <p:spPr>
          <a:xfrm>
            <a:off x="383507" y="1572449"/>
            <a:ext cx="11662846" cy="3170099"/>
          </a:xfrm>
          <a:prstGeom prst="rect">
            <a:avLst/>
          </a:prstGeom>
          <a:noFill/>
        </p:spPr>
        <p:txBody>
          <a:bodyPr wrap="square" rtlCol="0">
            <a:spAutoFit/>
          </a:bodyPr>
          <a:lstStyle/>
          <a:p>
            <a:pPr marL="457200" indent="-457200" algn="l">
              <a:buAutoNum type="arabicPeriod"/>
            </a:pPr>
            <a:r>
              <a:rPr lang="en-US" sz="2000" b="0" i="0" dirty="0">
                <a:effectLst/>
                <a:latin typeface="Ink Free" panose="03080402000500000000" pitchFamily="66" charset="0"/>
              </a:rPr>
              <a:t>Tell me about </a:t>
            </a:r>
            <a:r>
              <a:rPr lang="en-US" sz="2000" i="0" dirty="0">
                <a:effectLst/>
                <a:latin typeface="Ink Free" panose="03080402000500000000" pitchFamily="66" charset="0"/>
              </a:rPr>
              <a:t>a big decision </a:t>
            </a:r>
            <a:r>
              <a:rPr lang="en-US" sz="2000" b="0" i="0" dirty="0">
                <a:effectLst/>
                <a:latin typeface="Ink Free" panose="03080402000500000000" pitchFamily="66" charset="0"/>
              </a:rPr>
              <a:t>you've made recently. </a:t>
            </a:r>
            <a:r>
              <a:rPr lang="en-US" sz="2000" dirty="0">
                <a:latin typeface="Ink Free" panose="03080402000500000000" pitchFamily="66" charset="0"/>
              </a:rPr>
              <a:t>H</a:t>
            </a:r>
            <a:r>
              <a:rPr lang="en-US" sz="2000" b="0" i="0" dirty="0">
                <a:effectLst/>
                <a:latin typeface="Ink Free" panose="03080402000500000000" pitchFamily="66" charset="0"/>
              </a:rPr>
              <a:t>ow did you go about it and why?</a:t>
            </a:r>
          </a:p>
          <a:p>
            <a:pPr marL="457200" indent="-457200" algn="l">
              <a:buAutoNum type="arabicPeriod"/>
            </a:pPr>
            <a:endParaRPr lang="en-US" sz="2000" dirty="0">
              <a:latin typeface="Ink Free" panose="03080402000500000000" pitchFamily="66" charset="0"/>
            </a:endParaRPr>
          </a:p>
          <a:p>
            <a:pPr marL="457200" indent="-457200" algn="l">
              <a:buAutoNum type="arabicPeriod"/>
            </a:pPr>
            <a:endParaRPr lang="en-US" sz="2000" b="0" i="0" dirty="0">
              <a:effectLst/>
              <a:latin typeface="Ink Free" panose="03080402000500000000" pitchFamily="66" charset="0"/>
            </a:endParaRPr>
          </a:p>
          <a:p>
            <a:pPr marL="457200" indent="-457200" algn="l">
              <a:buAutoNum type="arabicPeriod"/>
            </a:pPr>
            <a:endParaRPr lang="en-US" sz="2000" dirty="0">
              <a:latin typeface="Ink Free" panose="03080402000500000000" pitchFamily="66" charset="0"/>
            </a:endParaRPr>
          </a:p>
          <a:p>
            <a:pPr marL="457200" indent="-457200" algn="l">
              <a:buAutoNum type="arabicPeriod"/>
            </a:pPr>
            <a:endParaRPr lang="en-US" sz="2000" b="0" i="0" dirty="0">
              <a:effectLst/>
              <a:latin typeface="Ink Free" panose="03080402000500000000" pitchFamily="66" charset="0"/>
            </a:endParaRPr>
          </a:p>
          <a:p>
            <a:pPr marL="514350" indent="-514350">
              <a:buFont typeface="+mj-lt"/>
              <a:buAutoNum type="arabicPeriod"/>
            </a:pPr>
            <a:endParaRPr lang="en-US" sz="2000" dirty="0">
              <a:latin typeface="Ink Free" panose="03080402000500000000" pitchFamily="66" charset="0"/>
            </a:endParaRPr>
          </a:p>
          <a:p>
            <a:pPr marL="514350" indent="-514350">
              <a:buFont typeface="+mj-lt"/>
              <a:buAutoNum type="arabicPeriod"/>
            </a:pPr>
            <a:endParaRPr lang="en-US" sz="2000" dirty="0">
              <a:latin typeface="Ink Free" panose="03080402000500000000" pitchFamily="66" charset="0"/>
            </a:endParaRPr>
          </a:p>
          <a:p>
            <a:pPr algn="l"/>
            <a:endParaRPr lang="en-US" sz="2000" b="0" i="0" dirty="0">
              <a:effectLst/>
              <a:latin typeface="Ink Free" panose="03080402000500000000" pitchFamily="66" charset="0"/>
            </a:endParaRPr>
          </a:p>
          <a:p>
            <a:pPr algn="l"/>
            <a:r>
              <a:rPr lang="en-US" sz="2000" dirty="0">
                <a:latin typeface="Ink Free" panose="03080402000500000000" pitchFamily="66" charset="0"/>
              </a:rPr>
              <a:t>2</a:t>
            </a:r>
            <a:r>
              <a:rPr lang="en-US" sz="2000" b="0" i="0" dirty="0">
                <a:effectLst/>
                <a:latin typeface="Ink Free" panose="03080402000500000000" pitchFamily="66" charset="0"/>
              </a:rPr>
              <a:t>. What has been your biggest achievement to date and why is it your biggest achievement? </a:t>
            </a:r>
          </a:p>
          <a:p>
            <a:pPr algn="l"/>
            <a:r>
              <a:rPr lang="en-US" sz="2000" dirty="0">
                <a:latin typeface="Ink Free" panose="03080402000500000000" pitchFamily="66" charset="0"/>
              </a:rPr>
              <a:t>    </a:t>
            </a:r>
            <a:r>
              <a:rPr lang="en-US" sz="2000" b="0" i="0" dirty="0">
                <a:effectLst/>
                <a:latin typeface="Ink Free" panose="03080402000500000000" pitchFamily="66" charset="0"/>
              </a:rPr>
              <a:t>How did you achieve this?</a:t>
            </a:r>
          </a:p>
        </p:txBody>
      </p:sp>
      <p:graphicFrame>
        <p:nvGraphicFramePr>
          <p:cNvPr id="5" name="Table 4">
            <a:extLst>
              <a:ext uri="{FF2B5EF4-FFF2-40B4-BE49-F238E27FC236}">
                <a16:creationId xmlns:a16="http://schemas.microsoft.com/office/drawing/2014/main" id="{AED52628-4E1D-44B9-85F1-7EDD51603301}"/>
              </a:ext>
            </a:extLst>
          </p:cNvPr>
          <p:cNvGraphicFramePr>
            <a:graphicFrameLocks noGrp="1"/>
          </p:cNvGraphicFramePr>
          <p:nvPr>
            <p:extLst>
              <p:ext uri="{D42A27DB-BD31-4B8C-83A1-F6EECF244321}">
                <p14:modId xmlns:p14="http://schemas.microsoft.com/office/powerpoint/2010/main" val="2118541857"/>
              </p:ext>
            </p:extLst>
          </p:nvPr>
        </p:nvGraphicFramePr>
        <p:xfrm>
          <a:off x="569377" y="2546013"/>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graphicFrame>
        <p:nvGraphicFramePr>
          <p:cNvPr id="6" name="Table 5">
            <a:extLst>
              <a:ext uri="{FF2B5EF4-FFF2-40B4-BE49-F238E27FC236}">
                <a16:creationId xmlns:a16="http://schemas.microsoft.com/office/drawing/2014/main" id="{FF9C3573-8BE1-65CA-3F11-69E0847AB567}"/>
              </a:ext>
            </a:extLst>
          </p:cNvPr>
          <p:cNvGraphicFramePr>
            <a:graphicFrameLocks noGrp="1"/>
          </p:cNvGraphicFramePr>
          <p:nvPr>
            <p:extLst>
              <p:ext uri="{D42A27DB-BD31-4B8C-83A1-F6EECF244321}">
                <p14:modId xmlns:p14="http://schemas.microsoft.com/office/powerpoint/2010/main" val="633822373"/>
              </p:ext>
            </p:extLst>
          </p:nvPr>
        </p:nvGraphicFramePr>
        <p:xfrm>
          <a:off x="556590" y="4679613"/>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sp>
        <p:nvSpPr>
          <p:cNvPr id="2" name="Slide Number Placeholder 1">
            <a:extLst>
              <a:ext uri="{FF2B5EF4-FFF2-40B4-BE49-F238E27FC236}">
                <a16:creationId xmlns:a16="http://schemas.microsoft.com/office/drawing/2014/main" id="{79F58A77-3E7B-F772-D004-F0A265E3C7C7}"/>
              </a:ext>
            </a:extLst>
          </p:cNvPr>
          <p:cNvSpPr>
            <a:spLocks noGrp="1"/>
          </p:cNvSpPr>
          <p:nvPr>
            <p:ph type="sldNum" sz="quarter" idx="10"/>
          </p:nvPr>
        </p:nvSpPr>
        <p:spPr/>
        <p:txBody>
          <a:bodyPr/>
          <a:lstStyle/>
          <a:p>
            <a:fld id="{76D3296C-7848-42A4-8F9B-BD5BB411D25F}" type="slidenum">
              <a:rPr lang="nl-NL" smtClean="0"/>
              <a:pPr/>
              <a:t>4</a:t>
            </a:fld>
            <a:endParaRPr lang="nl-NL"/>
          </a:p>
        </p:txBody>
      </p:sp>
    </p:spTree>
    <p:extLst>
      <p:ext uri="{BB962C8B-B14F-4D97-AF65-F5344CB8AC3E}">
        <p14:creationId xmlns:p14="http://schemas.microsoft.com/office/powerpoint/2010/main" val="2746475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EF7-E0C1-C8F4-2CA0-AEE3DE5CF4B0}"/>
              </a:ext>
            </a:extLst>
          </p:cNvPr>
          <p:cNvSpPr>
            <a:spLocks noGrp="1"/>
          </p:cNvSpPr>
          <p:nvPr>
            <p:ph type="title"/>
          </p:nvPr>
        </p:nvSpPr>
        <p:spPr/>
        <p:txBody>
          <a:bodyPr/>
          <a:lstStyle/>
          <a:p>
            <a:r>
              <a:rPr lang="en-US" cap="all" dirty="0"/>
              <a:t>Practice with STAR (PART 2)</a:t>
            </a:r>
          </a:p>
        </p:txBody>
      </p:sp>
      <p:sp>
        <p:nvSpPr>
          <p:cNvPr id="3" name="Text Placeholder 2">
            <a:extLst>
              <a:ext uri="{FF2B5EF4-FFF2-40B4-BE49-F238E27FC236}">
                <a16:creationId xmlns:a16="http://schemas.microsoft.com/office/drawing/2014/main" id="{71F8702A-8137-5837-F31F-E1603C466283}"/>
              </a:ext>
            </a:extLst>
          </p:cNvPr>
          <p:cNvSpPr>
            <a:spLocks noGrp="1"/>
          </p:cNvSpPr>
          <p:nvPr>
            <p:ph type="body" sz="quarter" idx="10"/>
          </p:nvPr>
        </p:nvSpPr>
        <p:spPr/>
        <p:txBody>
          <a:bodyPr/>
          <a:lstStyle/>
          <a:p>
            <a:r>
              <a:rPr lang="en-US" dirty="0"/>
              <a:t>Individual activity</a:t>
            </a:r>
          </a:p>
        </p:txBody>
      </p:sp>
      <p:sp>
        <p:nvSpPr>
          <p:cNvPr id="4" name="Text Placeholder 3">
            <a:extLst>
              <a:ext uri="{FF2B5EF4-FFF2-40B4-BE49-F238E27FC236}">
                <a16:creationId xmlns:a16="http://schemas.microsoft.com/office/drawing/2014/main" id="{DE2CE4B0-7495-FB4F-57B5-69B75624F3DA}"/>
              </a:ext>
            </a:extLst>
          </p:cNvPr>
          <p:cNvSpPr>
            <a:spLocks noGrp="1"/>
          </p:cNvSpPr>
          <p:nvPr>
            <p:ph type="body" sz="quarter" idx="11"/>
          </p:nvPr>
        </p:nvSpPr>
        <p:spPr/>
        <p:txBody>
          <a:bodyPr/>
          <a:lstStyle/>
          <a:p>
            <a:r>
              <a:rPr lang="en-US" dirty="0"/>
              <a:t>30 minutes</a:t>
            </a:r>
          </a:p>
        </p:txBody>
      </p:sp>
      <p:sp>
        <p:nvSpPr>
          <p:cNvPr id="5" name="Text Placeholder 4">
            <a:extLst>
              <a:ext uri="{FF2B5EF4-FFF2-40B4-BE49-F238E27FC236}">
                <a16:creationId xmlns:a16="http://schemas.microsoft.com/office/drawing/2014/main" id="{E79BE60A-CDBD-869C-4683-207046B2F5B7}"/>
              </a:ext>
            </a:extLst>
          </p:cNvPr>
          <p:cNvSpPr>
            <a:spLocks noGrp="1"/>
          </p:cNvSpPr>
          <p:nvPr>
            <p:ph type="body" sz="quarter" idx="12"/>
          </p:nvPr>
        </p:nvSpPr>
        <p:spPr>
          <a:xfrm>
            <a:off x="1879600" y="2963177"/>
            <a:ext cx="7745663" cy="1547004"/>
          </a:xfrm>
        </p:spPr>
        <p:txBody>
          <a:bodyPr/>
          <a:lstStyle/>
          <a:p>
            <a:pPr marL="342900" indent="-342900" algn="l">
              <a:buFont typeface="Arial" panose="020B0604020202020204" pitchFamily="34" charset="0"/>
              <a:buChar char="•"/>
            </a:pPr>
            <a:r>
              <a:rPr lang="en-US" dirty="0">
                <a:solidFill>
                  <a:srgbClr val="444444"/>
                </a:solidFill>
              </a:rPr>
              <a:t>You will find 6 questions</a:t>
            </a:r>
          </a:p>
          <a:p>
            <a:pPr marL="342900" indent="-342900" algn="l">
              <a:buFont typeface="Arial" panose="020B0604020202020204" pitchFamily="34" charset="0"/>
              <a:buChar char="•"/>
            </a:pPr>
            <a:r>
              <a:rPr lang="en-US" b="0" i="0" dirty="0">
                <a:solidFill>
                  <a:srgbClr val="444444"/>
                </a:solidFill>
                <a:effectLst/>
              </a:rPr>
              <a:t>In key words write down your answer in STAR method</a:t>
            </a:r>
          </a:p>
          <a:p>
            <a:pPr marL="342900" indent="-342900" algn="l">
              <a:buFont typeface="Arial" panose="020B0604020202020204" pitchFamily="34" charset="0"/>
              <a:buChar char="•"/>
            </a:pPr>
            <a:r>
              <a:rPr lang="en-US" dirty="0">
                <a:solidFill>
                  <a:srgbClr val="444444"/>
                </a:solidFill>
              </a:rPr>
              <a:t>You will later use these answers in a practice interview</a:t>
            </a:r>
          </a:p>
        </p:txBody>
      </p:sp>
      <p:sp>
        <p:nvSpPr>
          <p:cNvPr id="6" name="Slide Number Placeholder 5">
            <a:extLst>
              <a:ext uri="{FF2B5EF4-FFF2-40B4-BE49-F238E27FC236}">
                <a16:creationId xmlns:a16="http://schemas.microsoft.com/office/drawing/2014/main" id="{73415C69-B3E2-A833-4992-DF10B077E683}"/>
              </a:ext>
            </a:extLst>
          </p:cNvPr>
          <p:cNvSpPr>
            <a:spLocks noGrp="1"/>
          </p:cNvSpPr>
          <p:nvPr>
            <p:ph type="sldNum" sz="quarter" idx="13"/>
          </p:nvPr>
        </p:nvSpPr>
        <p:spPr/>
        <p:txBody>
          <a:bodyPr/>
          <a:lstStyle/>
          <a:p>
            <a:fld id="{76D3296C-7848-42A4-8F9B-BD5BB411D25F}" type="slidenum">
              <a:rPr lang="nl-NL" smtClean="0"/>
              <a:pPr/>
              <a:t>5</a:t>
            </a:fld>
            <a:endParaRPr lang="nl-NL"/>
          </a:p>
        </p:txBody>
      </p:sp>
    </p:spTree>
    <p:extLst>
      <p:ext uri="{BB962C8B-B14F-4D97-AF65-F5344CB8AC3E}">
        <p14:creationId xmlns:p14="http://schemas.microsoft.com/office/powerpoint/2010/main" val="1596748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086C32-0630-C77D-8D98-FAAB3000A5A1}"/>
              </a:ext>
            </a:extLst>
          </p:cNvPr>
          <p:cNvSpPr>
            <a:spLocks noGrp="1"/>
          </p:cNvSpPr>
          <p:nvPr>
            <p:ph type="title"/>
          </p:nvPr>
        </p:nvSpPr>
        <p:spPr/>
        <p:txBody>
          <a:bodyPr/>
          <a:lstStyle/>
          <a:p>
            <a:r>
              <a:rPr lang="en-US" cap="all" dirty="0"/>
              <a:t>What WOULD YOU Answer?</a:t>
            </a:r>
          </a:p>
        </p:txBody>
      </p:sp>
      <p:sp>
        <p:nvSpPr>
          <p:cNvPr id="4" name="Rectangle: Rounded Corners 3">
            <a:extLst>
              <a:ext uri="{FF2B5EF4-FFF2-40B4-BE49-F238E27FC236}">
                <a16:creationId xmlns:a16="http://schemas.microsoft.com/office/drawing/2014/main" id="{29574F03-EA55-A695-3F2C-CA0A24D5312A}"/>
              </a:ext>
            </a:extLst>
          </p:cNvPr>
          <p:cNvSpPr/>
          <p:nvPr/>
        </p:nvSpPr>
        <p:spPr>
          <a:xfrm>
            <a:off x="145647" y="1179404"/>
            <a:ext cx="11926280" cy="5446843"/>
          </a:xfrm>
          <a:prstGeom prst="roundRect">
            <a:avLst/>
          </a:prstGeom>
          <a:solidFill>
            <a:schemeClr val="bg1"/>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F482F38-CB6C-FC92-3ACF-B6DDA541BB3D}"/>
              </a:ext>
            </a:extLst>
          </p:cNvPr>
          <p:cNvSpPr txBox="1"/>
          <p:nvPr/>
        </p:nvSpPr>
        <p:spPr>
          <a:xfrm>
            <a:off x="383507" y="1572449"/>
            <a:ext cx="11662846" cy="3046988"/>
          </a:xfrm>
          <a:prstGeom prst="rect">
            <a:avLst/>
          </a:prstGeom>
          <a:noFill/>
        </p:spPr>
        <p:txBody>
          <a:bodyPr wrap="square" rtlCol="0">
            <a:spAutoFit/>
          </a:bodyPr>
          <a:lstStyle/>
          <a:p>
            <a:pPr algn="l"/>
            <a:r>
              <a:rPr lang="en-US" sz="2400" b="0" i="0" dirty="0">
                <a:effectLst/>
                <a:latin typeface="Ink Free" panose="03080402000500000000" pitchFamily="66" charset="0"/>
              </a:rPr>
              <a:t>3. Tell me about a time when your communication skills improved a situation.</a:t>
            </a: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b="1" dirty="0">
              <a:latin typeface="Ink Free" panose="03080402000500000000" pitchFamily="66" charset="0"/>
            </a:endParaRPr>
          </a:p>
          <a:p>
            <a:pPr algn="l"/>
            <a:endParaRPr lang="en-US" sz="2400" b="0" i="0" dirty="0">
              <a:effectLst/>
              <a:latin typeface="Ink Free" panose="03080402000500000000" pitchFamily="66" charset="0"/>
            </a:endParaRPr>
          </a:p>
          <a:p>
            <a:r>
              <a:rPr lang="en-US" sz="2400" b="0" i="0" dirty="0">
                <a:effectLst/>
                <a:latin typeface="Ink Free" panose="03080402000500000000" pitchFamily="66" charset="0"/>
              </a:rPr>
              <a:t>4. How do you influence people in a situation with conflicting agendas?</a:t>
            </a:r>
          </a:p>
        </p:txBody>
      </p:sp>
      <p:graphicFrame>
        <p:nvGraphicFramePr>
          <p:cNvPr id="5" name="Table 4">
            <a:extLst>
              <a:ext uri="{FF2B5EF4-FFF2-40B4-BE49-F238E27FC236}">
                <a16:creationId xmlns:a16="http://schemas.microsoft.com/office/drawing/2014/main" id="{AED52628-4E1D-44B9-85F1-7EDD51603301}"/>
              </a:ext>
            </a:extLst>
          </p:cNvPr>
          <p:cNvGraphicFramePr>
            <a:graphicFrameLocks noGrp="1"/>
          </p:cNvGraphicFramePr>
          <p:nvPr/>
        </p:nvGraphicFramePr>
        <p:xfrm>
          <a:off x="569377" y="2546013"/>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graphicFrame>
        <p:nvGraphicFramePr>
          <p:cNvPr id="6" name="Table 5">
            <a:extLst>
              <a:ext uri="{FF2B5EF4-FFF2-40B4-BE49-F238E27FC236}">
                <a16:creationId xmlns:a16="http://schemas.microsoft.com/office/drawing/2014/main" id="{FF9C3573-8BE1-65CA-3F11-69E0847AB567}"/>
              </a:ext>
            </a:extLst>
          </p:cNvPr>
          <p:cNvGraphicFramePr>
            <a:graphicFrameLocks noGrp="1"/>
          </p:cNvGraphicFramePr>
          <p:nvPr/>
        </p:nvGraphicFramePr>
        <p:xfrm>
          <a:off x="556590" y="4679613"/>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sp>
        <p:nvSpPr>
          <p:cNvPr id="2" name="Slide Number Placeholder 1">
            <a:extLst>
              <a:ext uri="{FF2B5EF4-FFF2-40B4-BE49-F238E27FC236}">
                <a16:creationId xmlns:a16="http://schemas.microsoft.com/office/drawing/2014/main" id="{C078466D-D439-B19E-41C9-C09A01A7E225}"/>
              </a:ext>
            </a:extLst>
          </p:cNvPr>
          <p:cNvSpPr>
            <a:spLocks noGrp="1"/>
          </p:cNvSpPr>
          <p:nvPr>
            <p:ph type="sldNum" sz="quarter" idx="10"/>
          </p:nvPr>
        </p:nvSpPr>
        <p:spPr/>
        <p:txBody>
          <a:bodyPr/>
          <a:lstStyle/>
          <a:p>
            <a:fld id="{76D3296C-7848-42A4-8F9B-BD5BB411D25F}" type="slidenum">
              <a:rPr lang="nl-NL" smtClean="0"/>
              <a:pPr/>
              <a:t>6</a:t>
            </a:fld>
            <a:endParaRPr lang="nl-NL"/>
          </a:p>
        </p:txBody>
      </p:sp>
    </p:spTree>
    <p:extLst>
      <p:ext uri="{BB962C8B-B14F-4D97-AF65-F5344CB8AC3E}">
        <p14:creationId xmlns:p14="http://schemas.microsoft.com/office/powerpoint/2010/main" val="2054384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086C32-0630-C77D-8D98-FAAB3000A5A1}"/>
              </a:ext>
            </a:extLst>
          </p:cNvPr>
          <p:cNvSpPr>
            <a:spLocks noGrp="1"/>
          </p:cNvSpPr>
          <p:nvPr>
            <p:ph type="title"/>
          </p:nvPr>
        </p:nvSpPr>
        <p:spPr/>
        <p:txBody>
          <a:bodyPr/>
          <a:lstStyle/>
          <a:p>
            <a:r>
              <a:rPr lang="en-US" cap="all" dirty="0"/>
              <a:t>What WOULD YOU Answer?</a:t>
            </a:r>
          </a:p>
        </p:txBody>
      </p:sp>
      <p:sp>
        <p:nvSpPr>
          <p:cNvPr id="4" name="Rectangle: Rounded Corners 3">
            <a:extLst>
              <a:ext uri="{FF2B5EF4-FFF2-40B4-BE49-F238E27FC236}">
                <a16:creationId xmlns:a16="http://schemas.microsoft.com/office/drawing/2014/main" id="{29574F03-EA55-A695-3F2C-CA0A24D5312A}"/>
              </a:ext>
            </a:extLst>
          </p:cNvPr>
          <p:cNvSpPr/>
          <p:nvPr/>
        </p:nvSpPr>
        <p:spPr>
          <a:xfrm>
            <a:off x="145647" y="1179404"/>
            <a:ext cx="11926280" cy="5446843"/>
          </a:xfrm>
          <a:prstGeom prst="roundRect">
            <a:avLst/>
          </a:prstGeom>
          <a:solidFill>
            <a:schemeClr val="bg1"/>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F482F38-CB6C-FC92-3ACF-B6DDA541BB3D}"/>
              </a:ext>
            </a:extLst>
          </p:cNvPr>
          <p:cNvSpPr txBox="1"/>
          <p:nvPr/>
        </p:nvSpPr>
        <p:spPr>
          <a:xfrm>
            <a:off x="383506" y="1497519"/>
            <a:ext cx="11697657" cy="3785652"/>
          </a:xfrm>
          <a:prstGeom prst="rect">
            <a:avLst/>
          </a:prstGeom>
          <a:noFill/>
        </p:spPr>
        <p:txBody>
          <a:bodyPr wrap="square" rtlCol="0">
            <a:spAutoFit/>
          </a:bodyPr>
          <a:lstStyle/>
          <a:p>
            <a:r>
              <a:rPr lang="en-US" sz="2400" dirty="0">
                <a:latin typeface="Ink Free" panose="03080402000500000000" pitchFamily="66" charset="0"/>
              </a:rPr>
              <a:t>5. </a:t>
            </a:r>
            <a:r>
              <a:rPr lang="en-US" sz="2400" b="0" i="0" dirty="0">
                <a:effectLst/>
                <a:latin typeface="Ink Free" panose="03080402000500000000" pitchFamily="66" charset="0"/>
              </a:rPr>
              <a:t>Give an example of a situation where you solved a problem in a creative way.</a:t>
            </a:r>
          </a:p>
          <a:p>
            <a:endParaRPr lang="en-US" sz="2400" dirty="0">
              <a:latin typeface="Ink Free" panose="03080402000500000000" pitchFamily="66" charset="0"/>
            </a:endParaRPr>
          </a:p>
          <a:p>
            <a:endParaRPr lang="en-US" sz="2400" b="0" i="0" dirty="0">
              <a:effectLst/>
              <a:latin typeface="Ink Free" panose="03080402000500000000" pitchFamily="66" charset="0"/>
            </a:endParaRPr>
          </a:p>
          <a:p>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r>
              <a:rPr lang="en-US" sz="2400" dirty="0">
                <a:latin typeface="Ink Free" panose="03080402000500000000" pitchFamily="66" charset="0"/>
              </a:rPr>
              <a:t>6. </a:t>
            </a:r>
            <a:r>
              <a:rPr lang="en-US" sz="2400" b="0" i="0" dirty="0">
                <a:effectLst/>
                <a:latin typeface="Ink Free" panose="03080402000500000000" pitchFamily="66" charset="0"/>
              </a:rPr>
              <a:t>Tell me about a time that you made a decision and then changed your mind. </a:t>
            </a:r>
          </a:p>
          <a:p>
            <a:r>
              <a:rPr lang="en-US" sz="2400" b="0" i="0" dirty="0">
                <a:effectLst/>
                <a:latin typeface="Ink Free" panose="03080402000500000000" pitchFamily="66" charset="0"/>
              </a:rPr>
              <a:t>What were the reasons for this?</a:t>
            </a:r>
          </a:p>
          <a:p>
            <a:endParaRPr lang="en-US" sz="2400" b="0" i="0" dirty="0">
              <a:effectLst/>
              <a:latin typeface="Ink Free" panose="03080402000500000000" pitchFamily="66" charset="0"/>
            </a:endParaRPr>
          </a:p>
          <a:p>
            <a:endParaRPr lang="en-US" sz="2400" dirty="0">
              <a:latin typeface="Ink Free" panose="03080402000500000000" pitchFamily="66" charset="0"/>
            </a:endParaRPr>
          </a:p>
        </p:txBody>
      </p:sp>
      <p:graphicFrame>
        <p:nvGraphicFramePr>
          <p:cNvPr id="2" name="Table 2">
            <a:extLst>
              <a:ext uri="{FF2B5EF4-FFF2-40B4-BE49-F238E27FC236}">
                <a16:creationId xmlns:a16="http://schemas.microsoft.com/office/drawing/2014/main" id="{69BBB89A-6E1C-3B9C-F42F-2B217A90E8A3}"/>
              </a:ext>
            </a:extLst>
          </p:cNvPr>
          <p:cNvGraphicFramePr>
            <a:graphicFrameLocks noGrp="1"/>
          </p:cNvGraphicFramePr>
          <p:nvPr>
            <p:extLst>
              <p:ext uri="{D42A27DB-BD31-4B8C-83A1-F6EECF244321}">
                <p14:modId xmlns:p14="http://schemas.microsoft.com/office/powerpoint/2010/main" val="117235891"/>
              </p:ext>
            </p:extLst>
          </p:nvPr>
        </p:nvGraphicFramePr>
        <p:xfrm>
          <a:off x="569377" y="2202354"/>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80817"/>
                  </a:ext>
                </a:extLst>
              </a:tr>
            </a:tbl>
          </a:graphicData>
        </a:graphic>
      </p:graphicFrame>
      <p:graphicFrame>
        <p:nvGraphicFramePr>
          <p:cNvPr id="3" name="Table 2">
            <a:extLst>
              <a:ext uri="{FF2B5EF4-FFF2-40B4-BE49-F238E27FC236}">
                <a16:creationId xmlns:a16="http://schemas.microsoft.com/office/drawing/2014/main" id="{AF116572-6F33-0D81-6F46-330B86383BF7}"/>
              </a:ext>
            </a:extLst>
          </p:cNvPr>
          <p:cNvGraphicFramePr>
            <a:graphicFrameLocks noGrp="1"/>
          </p:cNvGraphicFramePr>
          <p:nvPr>
            <p:extLst>
              <p:ext uri="{D42A27DB-BD31-4B8C-83A1-F6EECF244321}">
                <p14:modId xmlns:p14="http://schemas.microsoft.com/office/powerpoint/2010/main" val="3714243516"/>
              </p:ext>
            </p:extLst>
          </p:nvPr>
        </p:nvGraphicFramePr>
        <p:xfrm>
          <a:off x="556590" y="4541491"/>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sp>
        <p:nvSpPr>
          <p:cNvPr id="5" name="Slide Number Placeholder 4">
            <a:extLst>
              <a:ext uri="{FF2B5EF4-FFF2-40B4-BE49-F238E27FC236}">
                <a16:creationId xmlns:a16="http://schemas.microsoft.com/office/drawing/2014/main" id="{D1BD4A0C-3FB4-E845-D6D0-BF47A5E6D305}"/>
              </a:ext>
            </a:extLst>
          </p:cNvPr>
          <p:cNvSpPr>
            <a:spLocks noGrp="1"/>
          </p:cNvSpPr>
          <p:nvPr>
            <p:ph type="sldNum" sz="quarter" idx="10"/>
          </p:nvPr>
        </p:nvSpPr>
        <p:spPr/>
        <p:txBody>
          <a:bodyPr/>
          <a:lstStyle/>
          <a:p>
            <a:fld id="{76D3296C-7848-42A4-8F9B-BD5BB411D25F}" type="slidenum">
              <a:rPr lang="nl-NL" smtClean="0"/>
              <a:pPr/>
              <a:t>7</a:t>
            </a:fld>
            <a:endParaRPr lang="nl-NL"/>
          </a:p>
        </p:txBody>
      </p:sp>
    </p:spTree>
    <p:extLst>
      <p:ext uri="{BB962C8B-B14F-4D97-AF65-F5344CB8AC3E}">
        <p14:creationId xmlns:p14="http://schemas.microsoft.com/office/powerpoint/2010/main" val="744229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086C32-0630-C77D-8D98-FAAB3000A5A1}"/>
              </a:ext>
            </a:extLst>
          </p:cNvPr>
          <p:cNvSpPr>
            <a:spLocks noGrp="1"/>
          </p:cNvSpPr>
          <p:nvPr>
            <p:ph type="title"/>
          </p:nvPr>
        </p:nvSpPr>
        <p:spPr/>
        <p:txBody>
          <a:bodyPr/>
          <a:lstStyle/>
          <a:p>
            <a:r>
              <a:rPr lang="en-US" cap="all" dirty="0"/>
              <a:t>What WOULD YOU Answer?</a:t>
            </a:r>
          </a:p>
        </p:txBody>
      </p:sp>
      <p:sp>
        <p:nvSpPr>
          <p:cNvPr id="4" name="Rectangle: Rounded Corners 3">
            <a:extLst>
              <a:ext uri="{FF2B5EF4-FFF2-40B4-BE49-F238E27FC236}">
                <a16:creationId xmlns:a16="http://schemas.microsoft.com/office/drawing/2014/main" id="{29574F03-EA55-A695-3F2C-CA0A24D5312A}"/>
              </a:ext>
            </a:extLst>
          </p:cNvPr>
          <p:cNvSpPr/>
          <p:nvPr/>
        </p:nvSpPr>
        <p:spPr>
          <a:xfrm>
            <a:off x="145647" y="1179404"/>
            <a:ext cx="11926280" cy="5446843"/>
          </a:xfrm>
          <a:prstGeom prst="roundRect">
            <a:avLst/>
          </a:prstGeom>
          <a:solidFill>
            <a:schemeClr val="bg1"/>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9F482F38-CB6C-FC92-3ACF-B6DDA541BB3D}"/>
              </a:ext>
            </a:extLst>
          </p:cNvPr>
          <p:cNvSpPr txBox="1"/>
          <p:nvPr/>
        </p:nvSpPr>
        <p:spPr>
          <a:xfrm>
            <a:off x="494343" y="1270130"/>
            <a:ext cx="11697657" cy="3416320"/>
          </a:xfrm>
          <a:prstGeom prst="rect">
            <a:avLst/>
          </a:prstGeom>
          <a:noFill/>
        </p:spPr>
        <p:txBody>
          <a:bodyPr wrap="square" rtlCol="0">
            <a:spAutoFit/>
          </a:bodyPr>
          <a:lstStyle/>
          <a:p>
            <a:pPr algn="l"/>
            <a:r>
              <a:rPr lang="en-US" sz="2400" b="0" i="0" dirty="0">
                <a:effectLst/>
                <a:latin typeface="Ink Free" panose="03080402000500000000" pitchFamily="66" charset="0"/>
              </a:rPr>
              <a:t>7. Describe a situation where you were asked to do something that you'd never attempted previously.</a:t>
            </a:r>
          </a:p>
          <a:p>
            <a:endParaRPr lang="en-US" sz="2400" b="0" i="0" dirty="0">
              <a:effectLst/>
              <a:latin typeface="Ink Free" panose="03080402000500000000" pitchFamily="66" charset="0"/>
            </a:endParaRPr>
          </a:p>
          <a:p>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pPr marL="514350" indent="-514350">
              <a:buFont typeface="+mj-lt"/>
              <a:buAutoNum type="arabicPeriod"/>
            </a:pPr>
            <a:endParaRPr lang="en-US" sz="2400" dirty="0">
              <a:latin typeface="Ink Free" panose="03080402000500000000" pitchFamily="66" charset="0"/>
            </a:endParaRPr>
          </a:p>
          <a:p>
            <a:endParaRPr lang="en-US" sz="2400" b="1" dirty="0">
              <a:latin typeface="Ink Free" panose="03080402000500000000" pitchFamily="66" charset="0"/>
            </a:endParaRPr>
          </a:p>
          <a:p>
            <a:r>
              <a:rPr lang="en-US" sz="2400" dirty="0">
                <a:latin typeface="Ink Free" panose="03080402000500000000" pitchFamily="66" charset="0"/>
              </a:rPr>
              <a:t>6. </a:t>
            </a:r>
            <a:r>
              <a:rPr lang="en-US" sz="2400" b="0" i="0" dirty="0">
                <a:effectLst/>
                <a:latin typeface="Ink Free" panose="03080402000500000000" pitchFamily="66" charset="0"/>
              </a:rPr>
              <a:t>Tell me about a time when you achieved success even when the odds were stacked against you. </a:t>
            </a:r>
            <a:r>
              <a:rPr lang="en-US" sz="2400">
                <a:latin typeface="Ink Free" panose="03080402000500000000" pitchFamily="66" charset="0"/>
              </a:rPr>
              <a:t>Why did you do it and how did you achieve this? </a:t>
            </a:r>
            <a:endParaRPr lang="en-US" sz="2400" dirty="0">
              <a:latin typeface="Ink Free" panose="03080402000500000000" pitchFamily="66" charset="0"/>
            </a:endParaRPr>
          </a:p>
        </p:txBody>
      </p:sp>
      <p:graphicFrame>
        <p:nvGraphicFramePr>
          <p:cNvPr id="2" name="Table 2">
            <a:extLst>
              <a:ext uri="{FF2B5EF4-FFF2-40B4-BE49-F238E27FC236}">
                <a16:creationId xmlns:a16="http://schemas.microsoft.com/office/drawing/2014/main" id="{69BBB89A-6E1C-3B9C-F42F-2B217A90E8A3}"/>
              </a:ext>
            </a:extLst>
          </p:cNvPr>
          <p:cNvGraphicFramePr>
            <a:graphicFrameLocks noGrp="1"/>
          </p:cNvGraphicFramePr>
          <p:nvPr/>
        </p:nvGraphicFramePr>
        <p:xfrm>
          <a:off x="569377" y="2202354"/>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980817"/>
                  </a:ext>
                </a:extLst>
              </a:tr>
            </a:tbl>
          </a:graphicData>
        </a:graphic>
      </p:graphicFrame>
      <p:graphicFrame>
        <p:nvGraphicFramePr>
          <p:cNvPr id="3" name="Table 2">
            <a:extLst>
              <a:ext uri="{FF2B5EF4-FFF2-40B4-BE49-F238E27FC236}">
                <a16:creationId xmlns:a16="http://schemas.microsoft.com/office/drawing/2014/main" id="{AF116572-6F33-0D81-6F46-330B86383BF7}"/>
              </a:ext>
            </a:extLst>
          </p:cNvPr>
          <p:cNvGraphicFramePr>
            <a:graphicFrameLocks noGrp="1"/>
          </p:cNvGraphicFramePr>
          <p:nvPr/>
        </p:nvGraphicFramePr>
        <p:xfrm>
          <a:off x="556590" y="4679613"/>
          <a:ext cx="11078820" cy="1483360"/>
        </p:xfrm>
        <a:graphic>
          <a:graphicData uri="http://schemas.openxmlformats.org/drawingml/2006/table">
            <a:tbl>
              <a:tblPr firstRow="1" bandRow="1">
                <a:tableStyleId>{5C22544A-7EE6-4342-B048-85BDC9FD1C3A}</a:tableStyleId>
              </a:tblPr>
              <a:tblGrid>
                <a:gridCol w="11078820">
                  <a:extLst>
                    <a:ext uri="{9D8B030D-6E8A-4147-A177-3AD203B41FA5}">
                      <a16:colId xmlns:a16="http://schemas.microsoft.com/office/drawing/2014/main" val="3033794813"/>
                    </a:ext>
                  </a:extLst>
                </a:gridCol>
              </a:tblGrid>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165368"/>
                  </a:ext>
                </a:extLst>
              </a:tr>
              <a:tr h="370840">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8806178"/>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463670"/>
                  </a:ext>
                </a:extLst>
              </a:tr>
              <a:tr h="370840">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272850"/>
                  </a:ext>
                </a:extLst>
              </a:tr>
            </a:tbl>
          </a:graphicData>
        </a:graphic>
      </p:graphicFrame>
      <p:sp>
        <p:nvSpPr>
          <p:cNvPr id="5" name="Slide Number Placeholder 4">
            <a:extLst>
              <a:ext uri="{FF2B5EF4-FFF2-40B4-BE49-F238E27FC236}">
                <a16:creationId xmlns:a16="http://schemas.microsoft.com/office/drawing/2014/main" id="{289387BE-AFD3-BB33-3C19-48CEE7A230D8}"/>
              </a:ext>
            </a:extLst>
          </p:cNvPr>
          <p:cNvSpPr>
            <a:spLocks noGrp="1"/>
          </p:cNvSpPr>
          <p:nvPr>
            <p:ph type="sldNum" sz="quarter" idx="10"/>
          </p:nvPr>
        </p:nvSpPr>
        <p:spPr/>
        <p:txBody>
          <a:bodyPr/>
          <a:lstStyle/>
          <a:p>
            <a:fld id="{76D3296C-7848-42A4-8F9B-BD5BB411D25F}" type="slidenum">
              <a:rPr lang="nl-NL" smtClean="0"/>
              <a:pPr/>
              <a:t>8</a:t>
            </a:fld>
            <a:endParaRPr lang="nl-NL"/>
          </a:p>
        </p:txBody>
      </p:sp>
    </p:spTree>
    <p:extLst>
      <p:ext uri="{BB962C8B-B14F-4D97-AF65-F5344CB8AC3E}">
        <p14:creationId xmlns:p14="http://schemas.microsoft.com/office/powerpoint/2010/main" val="1821634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C1580AF-D177-59C1-BE86-3236D160B2B7}"/>
              </a:ext>
            </a:extLst>
          </p:cNvPr>
          <p:cNvSpPr txBox="1"/>
          <p:nvPr/>
        </p:nvSpPr>
        <p:spPr>
          <a:xfrm>
            <a:off x="0" y="5678646"/>
            <a:ext cx="5563633" cy="1169551"/>
          </a:xfrm>
          <a:prstGeom prst="rect">
            <a:avLst/>
          </a:prstGeom>
          <a:noFill/>
        </p:spPr>
        <p:txBody>
          <a:bodyPr wrap="square" rtlCol="0">
            <a:spAutoFit/>
          </a:bodyPr>
          <a:lstStyle/>
          <a:p>
            <a:pPr marL="0" marR="0">
              <a:spcBef>
                <a:spcPts val="0"/>
              </a:spcBef>
              <a:spcAft>
                <a:spcPts val="0"/>
              </a:spcAft>
            </a:pPr>
            <a:endParaRPr lang="en-US" sz="1000" i="1" dirty="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endParaRPr lang="en-US" sz="1000" i="1" dirty="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i="1" dirty="0">
                <a:solidFill>
                  <a:schemeClr val="bg1"/>
                </a:solidFill>
                <a:effectLst/>
                <a:latin typeface="Delivery" panose="020F0503020204020204" pitchFamily="34" charset="0"/>
                <a:ea typeface="Delivery" panose="020F0503020204020204" pitchFamily="34" charset="0"/>
                <a:cs typeface="Delivery" panose="020F0503020204020204" pitchFamily="34" charset="0"/>
              </a:rPr>
              <a:t>Disclaimer:</a:t>
            </a:r>
            <a:endParaRPr lang="en-US" sz="1000" dirty="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dirty="0">
                <a:solidFill>
                  <a:schemeClr val="bg1"/>
                </a:solidFill>
                <a:effectLst/>
                <a:latin typeface="Delivery" panose="020F0503020204020204" pitchFamily="34" charset="0"/>
                <a:ea typeface="Delivery" panose="020F0503020204020204" pitchFamily="34" charset="0"/>
                <a:cs typeface="Delivery" panose="020F0503020204020204" pitchFamily="34" charset="0"/>
              </a:rPr>
              <a:t>The material contains images from Shutterstock. These images cannot be used in any other materials by anyone without applicable Shutterstock licensing.</a:t>
            </a:r>
          </a:p>
          <a:p>
            <a:pPr marL="0" marR="0">
              <a:spcBef>
                <a:spcPts val="0"/>
              </a:spcBef>
              <a:spcAft>
                <a:spcPts val="0"/>
              </a:spcAft>
            </a:pPr>
            <a:r>
              <a:rPr lang="en-US" sz="1000" dirty="0">
                <a:solidFill>
                  <a:schemeClr val="bg1"/>
                </a:solidFill>
                <a:effectLst/>
                <a:latin typeface="Delivery" panose="020F0503020204020204" pitchFamily="34" charset="0"/>
                <a:ea typeface="Delivery" panose="020F0503020204020204" pitchFamily="34" charset="0"/>
                <a:cs typeface="Delivery" panose="020F0503020204020204" pitchFamily="34" charset="0"/>
              </a:rPr>
              <a:t>Some of the icons used in this material originate from </a:t>
            </a:r>
            <a:r>
              <a:rPr lang="en-US" sz="1000" dirty="0" err="1">
                <a:solidFill>
                  <a:schemeClr val="bg1"/>
                </a:solidFill>
                <a:effectLst/>
                <a:latin typeface="Delivery" panose="020F0503020204020204" pitchFamily="34" charset="0"/>
                <a:ea typeface="Delivery" panose="020F0503020204020204" pitchFamily="34" charset="0"/>
                <a:cs typeface="Delivery" panose="020F0503020204020204" pitchFamily="34" charset="0"/>
              </a:rPr>
              <a:t>Flaticon</a:t>
            </a:r>
            <a:r>
              <a:rPr lang="en-US" sz="1000" dirty="0">
                <a:solidFill>
                  <a:schemeClr val="bg1"/>
                </a:solidFill>
                <a:effectLst/>
                <a:latin typeface="Delivery" panose="020F0503020204020204" pitchFamily="34" charset="0"/>
                <a:ea typeface="Delivery" panose="020F0503020204020204" pitchFamily="34" charset="0"/>
                <a:cs typeface="Delivery" panose="020F0503020204020204" pitchFamily="34" charset="0"/>
              </a:rPr>
              <a:t>.</a:t>
            </a:r>
          </a:p>
          <a:p>
            <a:endParaRPr lang="en-US" sz="1000" dirty="0">
              <a:solidFill>
                <a:schemeClr val="bg1"/>
              </a:solidFill>
              <a:latin typeface="Delivery" panose="020F0503020204020204" pitchFamily="34" charset="0"/>
              <a:ea typeface="Delivery" panose="020F0503020204020204" pitchFamily="34" charset="0"/>
              <a:cs typeface="Delivery" panose="020F0503020204020204" pitchFamily="34" charset="0"/>
            </a:endParaRPr>
          </a:p>
        </p:txBody>
      </p:sp>
    </p:spTree>
    <p:extLst>
      <p:ext uri="{BB962C8B-B14F-4D97-AF65-F5344CB8AC3E}">
        <p14:creationId xmlns:p14="http://schemas.microsoft.com/office/powerpoint/2010/main" val="133774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wQAPwwAAAAAAAAAAAAAIAD///////////////8AAAD///////////////8DAAAAAwD///////8DAAAAAgD///////////////////////////////////////////////////////////////////////////////////////////////////////////////////////////////////////////////////////////////////////////////////////////////////////////////////////////////////////////////////////////////////////////////////////////////////////////////////////////////////////////////////////////////////////////////////////////////////////////////////////////////////////////////////////////////////////////////////////////////8BACAA////////////////AAAO////////AwAAAAIA////////////////////////////////////////////////////////////////////////////////////////////////////////////////////////////////////////////////////////////////////////////////////////////////////////////////////////////////////////////////////////////////////////////////////////////////////////////////////////////////////////////////////////////////////////////////////////////////////////////////////////////////////////////////////////////////////////////////////////////////////////////////////////AgACAP///////wQAAAACABAACx48ochFE3RBi7j9XAGLtjsFAAAAAAADAAAAAwADAAAAAQADAAAAAAD///////8DAAEA////////BAAAAAMAEAALgn67Y09RBUa3JrtNSe9tI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48ochFE3RBi7j9XAGLtjsDRGF0YQAbAAAABExpbmtlZFNoYXBlRGF0YQAFAAAAAAACTmFtZQAZAAAATGlua2VkU2hhcGVzRGF0YVByb3BlcnR5ABBWZXJzaW9uAAAAAAAJTGFzdFdyaXRlABEOu02IAQAAAAEA/////8YAxgAAAAVfaWQAEAAAAASCfrtjT1EFRrcmu01J720hA0RhdGEAUwAAAAhQcmVzZW50YXRpb25TY2FubmVkRm9yTGlua2VkU2hhcGVzAAECTnVtYmVyRm9ybWF0U2VwYXJhdG9yTW9kZQAKAAAAQXV0b21hdGljAAACTmFtZQAkAAAATGlua2VkU2hhcGVQcmVzZW50YXRpb25TZXR0aW5nc0RhdGEAEFZlcnNpb24AAAAAAAlMYXN0V3JpdGUAhw+7TY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205280850035849"/>
</p:tagLst>
</file>

<file path=ppt/theme/theme1.xml><?xml version="1.0" encoding="utf-8"?>
<a:theme xmlns:a="http://schemas.openxmlformats.org/drawingml/2006/main" name="SPLASH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ACTIVITY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NOTES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COURSE REVIEW">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ANK YOU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RODUC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I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PAGES NO IM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NTENT PAGES IMAGE RIGH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 PAGES IMAGE TOP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ONTENT PAGES IMAGE TOP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NTENT PAGES IMAGE BOT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CONTENT PAGES IMAGE BOT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5842810-97e5-4717-a452-62dd49d9c5d3" xsi:nil="true"/>
    <lcf76f155ced4ddcb4097134ff3c332f xmlns="29437e33-b608-46fc-8724-28b79a98715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F186DEBA6DB34A9F2D8BB285EF1F17" ma:contentTypeVersion="18" ma:contentTypeDescription="Create a new document." ma:contentTypeScope="" ma:versionID="a191eb36648810286f8e58e00378605f">
  <xsd:schema xmlns:xsd="http://www.w3.org/2001/XMLSchema" xmlns:xs="http://www.w3.org/2001/XMLSchema" xmlns:p="http://schemas.microsoft.com/office/2006/metadata/properties" xmlns:ns2="29437e33-b608-46fc-8724-28b79a987159" xmlns:ns3="45842810-97e5-4717-a452-62dd49d9c5d3" targetNamespace="http://schemas.microsoft.com/office/2006/metadata/properties" ma:root="true" ma:fieldsID="f4106d97b97d9ae02a38cf8326d160db" ns2:_="" ns3:_="">
    <xsd:import namespace="29437e33-b608-46fc-8724-28b79a987159"/>
    <xsd:import namespace="45842810-97e5-4717-a452-62dd49d9c5d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437e33-b608-46fc-8724-28b79a987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b9e2a73-f419-4c44-99f5-cd310bbfdd7d"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842810-97e5-4717-a452-62dd49d9c5d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8598fc78-0e75-408d-a388-f3a47a043782}" ma:internalName="TaxCatchAll" ma:showField="CatchAllData" ma:web="45842810-97e5-4717-a452-62dd49d9c5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5E054D-3EEF-4C34-828F-642C40BB0236}">
  <ds:schemaRefs>
    <ds:schemaRef ds:uri="http://purl.org/dc/terms/"/>
    <ds:schemaRef ds:uri="http://purl.org/dc/elements/1.1/"/>
    <ds:schemaRef ds:uri="7ff01d4a-d9bd-4f1d-8d9e-0fa88185bc99"/>
    <ds:schemaRef ds:uri="16d19505-5873-4cf7-b98f-ab573d793237"/>
    <ds:schemaRef ds:uri="http://schemas.microsoft.com/office/2006/documentManagement/types"/>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62DDA2FE-CD91-4B40-9D98-2F463A183B28}"/>
</file>

<file path=customXml/itemProps3.xml><?xml version="1.0" encoding="utf-8"?>
<ds:datastoreItem xmlns:ds="http://schemas.openxmlformats.org/officeDocument/2006/customXml" ds:itemID="{B2956FD1-BE71-4EC4-BDFB-0F8CBBAF1D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28</TotalTime>
  <Words>447</Words>
  <Application>Microsoft Office PowerPoint</Application>
  <PresentationFormat>Widescreen</PresentationFormat>
  <Paragraphs>94</Paragraphs>
  <Slides>9</Slides>
  <Notes>7</Notes>
  <HiddenSlides>0</HiddenSlides>
  <MMClips>0</MMClips>
  <ScaleCrop>false</ScaleCrop>
  <HeadingPairs>
    <vt:vector size="6" baseType="variant">
      <vt:variant>
        <vt:lpstr>Fonts Used</vt:lpstr>
      </vt:variant>
      <vt:variant>
        <vt:i4>4</vt:i4>
      </vt:variant>
      <vt:variant>
        <vt:lpstr>Theme</vt:lpstr>
      </vt:variant>
      <vt:variant>
        <vt:i4>13</vt:i4>
      </vt:variant>
      <vt:variant>
        <vt:lpstr>Slide Titles</vt:lpstr>
      </vt:variant>
      <vt:variant>
        <vt:i4>9</vt:i4>
      </vt:variant>
    </vt:vector>
  </HeadingPairs>
  <TitlesOfParts>
    <vt:vector size="26" baseType="lpstr">
      <vt:lpstr>Arial</vt:lpstr>
      <vt:lpstr>Calibri</vt:lpstr>
      <vt:lpstr>Delivery</vt:lpstr>
      <vt:lpstr>Ink Free</vt:lpstr>
      <vt:lpstr>SPLASHPAGES</vt:lpstr>
      <vt:lpstr>INTRODUCTION PAGES</vt:lpstr>
      <vt:lpstr>TRANSITION PAGES</vt:lpstr>
      <vt:lpstr>CONTENT PAGES NO IMAGE</vt:lpstr>
      <vt:lpstr>CONTENT PAGES IMAGE RIGHT</vt:lpstr>
      <vt:lpstr>CONTENT PAGES IMAGE TOP 1</vt:lpstr>
      <vt:lpstr>CONTENT PAGES IMAGE TOP 2</vt:lpstr>
      <vt:lpstr>CONTENT PAGES IMAGE BOTTOM 1</vt:lpstr>
      <vt:lpstr>CONTENT PAGES IMAGE BOTTOM 2</vt:lpstr>
      <vt:lpstr>ACTIVITY PAGES</vt:lpstr>
      <vt:lpstr>NOTES PAGE</vt:lpstr>
      <vt:lpstr>COURSE REVIEW</vt:lpstr>
      <vt:lpstr>THANK YOU PAGES</vt:lpstr>
      <vt:lpstr>interview Skills</vt:lpstr>
      <vt:lpstr>PowerPoint Presentation</vt:lpstr>
      <vt:lpstr>Practice with STAR (PART 1)</vt:lpstr>
      <vt:lpstr>What WOULD YOU Answer?</vt:lpstr>
      <vt:lpstr>Practice with STAR (PART 2)</vt:lpstr>
      <vt:lpstr>What WOULD YOU Answer?</vt:lpstr>
      <vt:lpstr>What WOULD YOU Answer?</vt:lpstr>
      <vt:lpstr>What WOULD YOU Answer?</vt:lpstr>
      <vt:lpstr>PowerPoint Presentation</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s Gelissen (DHL SSC Maastricht)</dc:creator>
  <cp:lastModifiedBy>Bente De Rijke (DHL SSC Maastricht)</cp:lastModifiedBy>
  <cp:revision>24</cp:revision>
  <dcterms:created xsi:type="dcterms:W3CDTF">2022-01-06T11:01:34Z</dcterms:created>
  <dcterms:modified xsi:type="dcterms:W3CDTF">2023-07-14T16: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F186DEBA6DB34A9F2D8BB285EF1F17</vt:lpwstr>
  </property>
  <property fmtid="{D5CDD505-2E9C-101B-9397-08002B2CF9AE}" pid="3" name="MSIP_Label_736915f3-2f02-4945-8997-f2963298db46_Enabled">
    <vt:lpwstr>true</vt:lpwstr>
  </property>
  <property fmtid="{D5CDD505-2E9C-101B-9397-08002B2CF9AE}" pid="4" name="MSIP_Label_736915f3-2f02-4945-8997-f2963298db46_SetDate">
    <vt:lpwstr>2023-03-01T08:37:06Z</vt:lpwstr>
  </property>
  <property fmtid="{D5CDD505-2E9C-101B-9397-08002B2CF9AE}" pid="5" name="MSIP_Label_736915f3-2f02-4945-8997-f2963298db46_Method">
    <vt:lpwstr>Standard</vt:lpwstr>
  </property>
  <property fmtid="{D5CDD505-2E9C-101B-9397-08002B2CF9AE}" pid="6" name="MSIP_Label_736915f3-2f02-4945-8997-f2963298db46_Name">
    <vt:lpwstr>Internal</vt:lpwstr>
  </property>
  <property fmtid="{D5CDD505-2E9C-101B-9397-08002B2CF9AE}" pid="7" name="MSIP_Label_736915f3-2f02-4945-8997-f2963298db46_SiteId">
    <vt:lpwstr>cd99fef8-1cd3-4a2a-9bdf-15531181d65e</vt:lpwstr>
  </property>
  <property fmtid="{D5CDD505-2E9C-101B-9397-08002B2CF9AE}" pid="8" name="MSIP_Label_736915f3-2f02-4945-8997-f2963298db46_ActionId">
    <vt:lpwstr>095f8399-b45e-4896-911e-46cb41b7092b</vt:lpwstr>
  </property>
  <property fmtid="{D5CDD505-2E9C-101B-9397-08002B2CF9AE}" pid="9" name="MSIP_Label_736915f3-2f02-4945-8997-f2963298db46_ContentBits">
    <vt:lpwstr>1</vt:lpwstr>
  </property>
  <property fmtid="{D5CDD505-2E9C-101B-9397-08002B2CF9AE}" pid="10" name="MediaServiceImageTags">
    <vt:lpwstr/>
  </property>
</Properties>
</file>